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2" r:id="rId5"/>
    <p:sldMasterId id="2147484034" r:id="rId6"/>
  </p:sldMasterIdLst>
  <p:notesMasterIdLst>
    <p:notesMasterId r:id="rId24"/>
  </p:notesMasterIdLst>
  <p:handoutMasterIdLst>
    <p:handoutMasterId r:id="rId25"/>
  </p:handoutMasterIdLst>
  <p:sldIdLst>
    <p:sldId id="351" r:id="rId7"/>
    <p:sldId id="368" r:id="rId8"/>
    <p:sldId id="367" r:id="rId9"/>
    <p:sldId id="381" r:id="rId10"/>
    <p:sldId id="375" r:id="rId11"/>
    <p:sldId id="369" r:id="rId12"/>
    <p:sldId id="366" r:id="rId13"/>
    <p:sldId id="372" r:id="rId14"/>
    <p:sldId id="376" r:id="rId15"/>
    <p:sldId id="374" r:id="rId16"/>
    <p:sldId id="373" r:id="rId17"/>
    <p:sldId id="377" r:id="rId18"/>
    <p:sldId id="379" r:id="rId19"/>
    <p:sldId id="378" r:id="rId20"/>
    <p:sldId id="382" r:id="rId21"/>
    <p:sldId id="370" r:id="rId22"/>
    <p:sldId id="371" r:id="rId23"/>
  </p:sldIdLst>
  <p:sldSz cx="9144000" cy="6858000" type="screen4x3"/>
  <p:notesSz cx="6805613" cy="9939338"/>
  <p:custDataLst>
    <p:tags r:id="rId26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650D"/>
    <a:srgbClr val="E64415"/>
    <a:srgbClr val="FFB385"/>
    <a:srgbClr val="EE7F00"/>
    <a:srgbClr val="FFCC99"/>
    <a:srgbClr val="E3F0F9"/>
    <a:srgbClr val="FFF8F7"/>
    <a:srgbClr val="FCECE7"/>
    <a:srgbClr val="FFEAE7"/>
    <a:srgbClr val="D2CD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Stijl, licht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Stijl, licht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09" autoAdjust="0"/>
    <p:restoredTop sz="86572" autoAdjust="0"/>
  </p:normalViewPr>
  <p:slideViewPr>
    <p:cSldViewPr>
      <p:cViewPr varScale="1">
        <p:scale>
          <a:sx n="78" d="100"/>
          <a:sy n="78" d="100"/>
        </p:scale>
        <p:origin x="1200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09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sz="1200"/>
            </a:lvl1pPr>
          </a:lstStyle>
          <a:p>
            <a:endParaRPr lang="en-US" altLang="ja-JP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939" y="0"/>
            <a:ext cx="294909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kumimoji="0" sz="1200"/>
            </a:lvl1pPr>
          </a:lstStyle>
          <a:p>
            <a:fld id="{5D3608D7-C415-4419-92E3-E3471B4F85A8}" type="datetimeFigureOut">
              <a:rPr lang="en-US" altLang="ja-JP"/>
              <a:pPr/>
              <a:t>11/11/2018</a:t>
            </a:fld>
            <a:endParaRPr lang="en-US" altLang="ja-JP" dirty="0"/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646"/>
            <a:ext cx="294909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200"/>
            </a:lvl1pPr>
          </a:lstStyle>
          <a:p>
            <a:endParaRPr lang="en-US" altLang="ja-JP" dirty="0"/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939" y="9440646"/>
            <a:ext cx="2949099" cy="496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200"/>
            </a:lvl1pPr>
          </a:lstStyle>
          <a:p>
            <a:fld id="{E1552FFD-FD2B-4549-8F82-FFB0995817A4}" type="slidenum">
              <a:rPr lang="en-US" altLang="ja-JP"/>
              <a:pPr/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20563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sz="1200"/>
            </a:lvl1pPr>
          </a:lstStyle>
          <a:p>
            <a:endParaRPr lang="nl-NL" altLang="ja-JP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kumimoji="0" sz="1200"/>
            </a:lvl1pPr>
          </a:lstStyle>
          <a:p>
            <a:fld id="{AF8CD183-3848-4846-A9B5-0AEB5F17A772}" type="datetimeFigureOut">
              <a:rPr lang="nl-NL" altLang="ja-JP"/>
              <a:pPr/>
              <a:t>11-11-2018</a:t>
            </a:fld>
            <a:endParaRPr lang="nl-NL" altLang="ja-JP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200"/>
            </a:lvl1pPr>
          </a:lstStyle>
          <a:p>
            <a:endParaRPr lang="nl-NL" altLang="ja-JP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200"/>
            </a:lvl1pPr>
          </a:lstStyle>
          <a:p>
            <a:fld id="{86BB1AA5-444F-4702-929D-D5F7F822FB35}" type="slidenum">
              <a:rPr lang="nl-NL" altLang="ja-JP"/>
              <a:pPr/>
              <a:t>‹#›</a:t>
            </a:fld>
            <a:endParaRPr lang="nl-NL" altLang="ja-JP"/>
          </a:p>
        </p:txBody>
      </p:sp>
    </p:spTree>
    <p:extLst>
      <p:ext uri="{BB962C8B-B14F-4D97-AF65-F5344CB8AC3E}">
        <p14:creationId xmlns:p14="http://schemas.microsoft.com/office/powerpoint/2010/main" val="34679091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B1AA5-444F-4702-929D-D5F7F822FB35}" type="slidenum">
              <a:rPr lang="nl-NL" altLang="ja-JP" smtClean="0"/>
              <a:pPr/>
              <a:t>16</a:t>
            </a:fld>
            <a:endParaRPr lang="nl-NL" altLang="ja-JP"/>
          </a:p>
        </p:txBody>
      </p:sp>
    </p:spTree>
    <p:extLst>
      <p:ext uri="{BB962C8B-B14F-4D97-AF65-F5344CB8AC3E}">
        <p14:creationId xmlns:p14="http://schemas.microsoft.com/office/powerpoint/2010/main" val="3506520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856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5743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097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ep 16"/>
          <p:cNvGrpSpPr>
            <a:grpSpLocks/>
          </p:cNvGrpSpPr>
          <p:nvPr/>
        </p:nvGrpSpPr>
        <p:grpSpPr bwMode="auto">
          <a:xfrm>
            <a:off x="-1714500" y="358775"/>
            <a:ext cx="2085975" cy="2068513"/>
            <a:chOff x="-1714798" y="476672"/>
            <a:chExt cx="2086856" cy="2068259"/>
          </a:xfrm>
        </p:grpSpPr>
        <p:sp>
          <p:nvSpPr>
            <p:cNvPr id="9" name="Rectangle 12"/>
            <p:cNvSpPr>
              <a:spLocks noChangeArrowheads="1"/>
            </p:cNvSpPr>
            <p:nvPr userDrawn="1"/>
          </p:nvSpPr>
          <p:spPr bwMode="auto">
            <a:xfrm>
              <a:off x="-1714798" y="1890961"/>
              <a:ext cx="179463" cy="17936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2" name="Rectangle 29"/>
            <p:cNvSpPr>
              <a:spLocks noChangeArrowheads="1"/>
            </p:cNvSpPr>
            <p:nvPr userDrawn="1"/>
          </p:nvSpPr>
          <p:spPr bwMode="auto">
            <a:xfrm>
              <a:off x="-1436869" y="476672"/>
              <a:ext cx="1808927" cy="20682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42 </a:t>
              </a:r>
              <a:r>
                <a:rPr kumimoji="0" lang="nl-NL" altLang="nl-NL" sz="1400" dirty="0" err="1" smtClean="0">
                  <a:latin typeface="+mj-lt"/>
                </a:rPr>
                <a:t>bold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42 bold</a:t>
              </a:r>
              <a:r>
                <a:rPr kumimoji="0" lang="en-US" altLang="nl-NL" sz="1400" dirty="0">
                  <a:latin typeface="+mj-lt"/>
                </a:rPr>
                <a:t/>
              </a:r>
              <a:br>
                <a:rPr kumimoji="0" lang="en-US" altLang="nl-NL" sz="1400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- </a:t>
              </a:r>
              <a:r>
                <a:rPr kumimoji="0" lang="en-US" altLang="nl-NL" sz="1400" dirty="0" smtClean="0">
                  <a:latin typeface="+mj-lt"/>
                </a:rPr>
                <a:t>013</a:t>
              </a:r>
              <a:r>
                <a:rPr kumimoji="0" lang="en-US" altLang="nl-NL" sz="1400" dirty="0">
                  <a:latin typeface="+mj-lt"/>
                </a:rPr>
                <a:t>	</a:t>
              </a:r>
              <a:endParaRPr kumimoji="0" lang="en-US" altLang="nl-NL" sz="1400" dirty="0" smtClean="0">
                <a:latin typeface="+mj-lt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Information</a:t>
              </a:r>
              <a:br>
                <a:rPr kumimoji="0" lang="en-US" altLang="nl-NL" sz="1400" b="1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30 bold</a:t>
              </a:r>
              <a:r>
                <a:rPr kumimoji="0" lang="en-US" altLang="nl-NL" sz="1400" dirty="0">
                  <a:latin typeface="+mj-lt"/>
                </a:rPr>
                <a:t/>
              </a:r>
              <a:br>
                <a:rPr kumimoji="0" lang="en-US" altLang="nl-NL" sz="1400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0 </a:t>
              </a:r>
              <a:r>
                <a:rPr kumimoji="0" lang="en-US" altLang="nl-NL" sz="1400" dirty="0">
                  <a:latin typeface="+mj-lt"/>
                </a:rPr>
                <a:t>- 068 - </a:t>
              </a:r>
              <a:r>
                <a:rPr kumimoji="0" lang="en-US" altLang="nl-NL" sz="1400" dirty="0" smtClean="0">
                  <a:latin typeface="+mj-lt"/>
                </a:rPr>
                <a:t>021</a:t>
              </a: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-1712913" y="417513"/>
            <a:ext cx="179388" cy="1793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14" name="Text Box 28"/>
          <p:cNvSpPr txBox="1">
            <a:spLocks noChangeArrowheads="1"/>
          </p:cNvSpPr>
          <p:nvPr/>
        </p:nvSpPr>
        <p:spPr bwMode="auto">
          <a:xfrm>
            <a:off x="-1685925" y="44450"/>
            <a:ext cx="6445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nl-NL" sz="1600" b="1" dirty="0" err="1">
                <a:latin typeface="+mj-lt"/>
                <a:ea typeface="ＭＳ Ｐゴシック" charset="0"/>
              </a:rPr>
              <a:t>Colours</a:t>
            </a:r>
            <a:endParaRPr kumimoji="0" lang="en-US" sz="1600" b="1" dirty="0">
              <a:latin typeface="+mj-lt"/>
              <a:ea typeface="ＭＳ Ｐゴシック" charset="0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-1712913" y="1112838"/>
            <a:ext cx="179388" cy="1793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pic>
        <p:nvPicPr>
          <p:cNvPr id="16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1200" y="260648"/>
            <a:ext cx="8280000" cy="648072"/>
          </a:xfrm>
        </p:spPr>
        <p:txBody>
          <a:bodyPr lIns="0" tIns="0" rIns="0" bIns="0" anchor="t">
            <a:noAutofit/>
          </a:bodyPr>
          <a:lstStyle>
            <a:lvl1pPr algn="l">
              <a:defRPr sz="42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331200" y="908720"/>
            <a:ext cx="8280000" cy="648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42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331200" y="1967632"/>
            <a:ext cx="7058025" cy="54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 b="1">
                <a:solidFill>
                  <a:schemeClr val="accent3"/>
                </a:solidFill>
              </a:defRPr>
            </a:lvl1pPr>
            <a:lvl2pPr marL="0" indent="0">
              <a:buNone/>
              <a:defRPr sz="3000" b="1"/>
            </a:lvl2pPr>
            <a:lvl3pPr marL="0" indent="0">
              <a:buNone/>
              <a:defRPr sz="3000" b="1"/>
            </a:lvl3pPr>
            <a:lvl4pPr marL="0" indent="0">
              <a:buNone/>
              <a:defRPr sz="3000" b="1"/>
            </a:lvl4pPr>
            <a:lvl5pPr marL="0" indent="0">
              <a:buNone/>
              <a:defRPr sz="3000" b="1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0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31200" y="2571254"/>
            <a:ext cx="7058025" cy="54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 b="1">
                <a:solidFill>
                  <a:schemeClr val="accent3"/>
                </a:solidFill>
              </a:defRPr>
            </a:lvl1pPr>
            <a:lvl2pPr marL="0" indent="0">
              <a:buNone/>
              <a:defRPr sz="3000" b="1"/>
            </a:lvl2pPr>
            <a:lvl3pPr marL="0" indent="0">
              <a:buNone/>
              <a:defRPr sz="3000" b="1"/>
            </a:lvl3pPr>
            <a:lvl4pPr marL="0" indent="0">
              <a:buNone/>
              <a:defRPr sz="3000" b="1"/>
            </a:lvl4pPr>
            <a:lvl5pPr marL="0" indent="0">
              <a:buNone/>
              <a:defRPr sz="3000" b="1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1" name="Tijdelijke aanduiding voor tekst 7"/>
          <p:cNvSpPr>
            <a:spLocks noGrp="1"/>
          </p:cNvSpPr>
          <p:nvPr>
            <p:ph type="body" sz="quarter" idx="15"/>
          </p:nvPr>
        </p:nvSpPr>
        <p:spPr>
          <a:xfrm>
            <a:off x="331200" y="3174876"/>
            <a:ext cx="7058025" cy="540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 b="1" baseline="0">
                <a:solidFill>
                  <a:schemeClr val="accent3"/>
                </a:solidFill>
              </a:defRPr>
            </a:lvl1pPr>
            <a:lvl2pPr marL="0" indent="0">
              <a:buNone/>
              <a:defRPr sz="3000" b="1"/>
            </a:lvl2pPr>
            <a:lvl3pPr marL="0" indent="0">
              <a:buNone/>
              <a:defRPr sz="3000" b="1"/>
            </a:lvl3pPr>
            <a:lvl4pPr marL="0" indent="0">
              <a:buNone/>
              <a:defRPr sz="3000" b="1"/>
            </a:lvl4pPr>
            <a:lvl5pPr marL="0" indent="0">
              <a:buNone/>
              <a:defRPr sz="3000" b="1"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00255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"/>
          <p:cNvSpPr>
            <a:spLocks noChangeArrowheads="1"/>
          </p:cNvSpPr>
          <p:nvPr/>
        </p:nvSpPr>
        <p:spPr bwMode="auto">
          <a:xfrm>
            <a:off x="-1436688" y="358775"/>
            <a:ext cx="1808163" cy="2066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504"/>
              </a:spcAft>
              <a:tabLst/>
              <a:defRPr/>
            </a:pPr>
            <a:r>
              <a:rPr kumimoji="0" lang="nl-NL" altLang="nl-NL" sz="1400" b="1" dirty="0" err="1" smtClean="0">
                <a:solidFill>
                  <a:srgbClr val="000000"/>
                </a:solidFill>
                <a:latin typeface="Calibri"/>
              </a:rPr>
              <a:t>Title</a:t>
            </a:r>
            <a: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  <a:t>	</a:t>
            </a:r>
            <a:b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</a:br>
            <a:r>
              <a:rPr kumimoji="0" lang="nl-NL" altLang="nl-NL" sz="1400" dirty="0" err="1" smtClean="0">
                <a:solidFill>
                  <a:srgbClr val="000000"/>
                </a:solidFill>
                <a:latin typeface="Calibri"/>
              </a:rPr>
              <a:t>Calibri</a:t>
            </a:r>
            <a: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  <a:t> - 42 </a:t>
            </a:r>
            <a:r>
              <a:rPr kumimoji="0" lang="nl-NL" altLang="nl-NL" sz="1400" dirty="0" err="1" smtClean="0">
                <a:solidFill>
                  <a:srgbClr val="000000"/>
                </a:solidFill>
                <a:latin typeface="Calibri"/>
              </a:rPr>
              <a:t>bold</a:t>
            </a:r>
            <a: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  <a:t/>
            </a:r>
            <a:b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</a:br>
            <a:r>
              <a:rPr kumimoji="0" lang="nl-NL" altLang="nl-NL" sz="1400" dirty="0" smtClean="0">
                <a:solidFill>
                  <a:srgbClr val="000000"/>
                </a:solidFill>
                <a:latin typeface="Calibri"/>
              </a:rPr>
              <a:t>238 - 127 - 000</a:t>
            </a:r>
          </a:p>
          <a:p>
            <a:pPr eaLnBrk="1" fontAlgn="auto" hangingPunct="1">
              <a:spcBef>
                <a:spcPts val="0"/>
              </a:spcBef>
              <a:spcAft>
                <a:spcPts val="504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Subtitle</a:t>
            </a:r>
            <a:br>
              <a:rPr kumimoji="0" lang="en-US" altLang="nl-NL" sz="1400" b="1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42 bold</a:t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4 - 101 - 013	</a:t>
            </a:r>
          </a:p>
          <a:p>
            <a:pPr eaLnBrk="1" fontAlgn="auto" hangingPunct="1">
              <a:spcBef>
                <a:spcPts val="0"/>
              </a:spcBef>
              <a:spcAft>
                <a:spcPts val="504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Second subtitle</a:t>
            </a:r>
            <a:br>
              <a:rPr kumimoji="0" lang="en-US" altLang="nl-NL" sz="1400" b="1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42 bold</a:t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0 - 068 - 021</a:t>
            </a:r>
            <a:endParaRPr kumimoji="0" lang="en-US" altLang="nl-NL" sz="1400" dirty="0">
              <a:latin typeface="+mj-lt"/>
            </a:endParaRPr>
          </a:p>
        </p:txBody>
      </p:sp>
      <p:sp>
        <p:nvSpPr>
          <p:cNvPr id="4" name="Tijdelijke aanduiding voor dianummer 5"/>
          <p:cNvSpPr txBox="1">
            <a:spLocks/>
          </p:cNvSpPr>
          <p:nvPr/>
        </p:nvSpPr>
        <p:spPr>
          <a:xfrm>
            <a:off x="3405188" y="637778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00E6FC21-FBA3-4BCB-B890-0FF4E4942897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-1712913" y="417513"/>
            <a:ext cx="179388" cy="1793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6" name="Text Box 28"/>
          <p:cNvSpPr txBox="1">
            <a:spLocks noChangeArrowheads="1"/>
          </p:cNvSpPr>
          <p:nvPr/>
        </p:nvSpPr>
        <p:spPr bwMode="auto">
          <a:xfrm>
            <a:off x="-1685925" y="44450"/>
            <a:ext cx="6445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nl-NL" sz="1600" b="1" dirty="0" err="1">
                <a:latin typeface="+mj-lt"/>
                <a:ea typeface="ＭＳ Ｐゴシック" charset="0"/>
              </a:rPr>
              <a:t>Colours</a:t>
            </a:r>
            <a:endParaRPr kumimoji="0" lang="en-US" sz="1600" b="1" dirty="0">
              <a:latin typeface="+mj-lt"/>
              <a:ea typeface="ＭＳ Ｐゴシック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-1712913" y="1112838"/>
            <a:ext cx="179388" cy="1793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-1712913" y="1792288"/>
            <a:ext cx="179388" cy="17938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dirty="0">
              <a:latin typeface="+mj-lt"/>
              <a:ea typeface="ＭＳ Ｐゴシック" charset="0"/>
            </a:endParaRPr>
          </a:p>
        </p:txBody>
      </p:sp>
      <p:pic>
        <p:nvPicPr>
          <p:cNvPr id="9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331200" y="260648"/>
            <a:ext cx="8280000" cy="53292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1pPr>
            <a:lvl2pPr marL="35560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2pPr>
            <a:lvl3pPr marL="72390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3pPr>
            <a:lvl4pPr marL="107950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4pPr>
            <a:lvl5pPr marL="1435100" indent="0">
              <a:spcBef>
                <a:spcPts val="0"/>
              </a:spcBef>
              <a:buNone/>
              <a:defRPr sz="4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10217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-1436688" y="358775"/>
            <a:ext cx="1808163" cy="135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nl-NL" altLang="nl-NL" sz="1400" b="1" dirty="0" err="1" smtClean="0">
                <a:latin typeface="+mj-lt"/>
              </a:rPr>
              <a:t>Title</a:t>
            </a:r>
            <a:r>
              <a:rPr kumimoji="0" lang="nl-NL" altLang="nl-NL" sz="1400" dirty="0">
                <a:latin typeface="+mj-lt"/>
              </a:rPr>
              <a:t>	</a:t>
            </a:r>
            <a:br>
              <a:rPr kumimoji="0" lang="nl-NL" altLang="nl-NL" sz="1400" dirty="0">
                <a:latin typeface="+mj-lt"/>
              </a:rPr>
            </a:br>
            <a:r>
              <a:rPr kumimoji="0" lang="nl-NL" altLang="nl-NL" sz="1400" dirty="0" err="1" smtClean="0">
                <a:latin typeface="+mj-lt"/>
              </a:rPr>
              <a:t>Calibri</a:t>
            </a:r>
            <a:r>
              <a:rPr kumimoji="0" lang="nl-NL" altLang="nl-NL" sz="1400" dirty="0" smtClean="0">
                <a:latin typeface="+mj-lt"/>
              </a:rPr>
              <a:t> - 42 </a:t>
            </a:r>
            <a:r>
              <a:rPr kumimoji="0" lang="nl-NL" altLang="nl-NL" sz="1400" dirty="0" err="1" smtClean="0">
                <a:latin typeface="+mj-lt"/>
              </a:rPr>
              <a:t>bold</a:t>
            </a:r>
            <a:r>
              <a:rPr kumimoji="0" lang="nl-NL" altLang="nl-NL" sz="1400" dirty="0">
                <a:latin typeface="+mj-lt"/>
              </a:rPr>
              <a:t/>
            </a:r>
            <a:br>
              <a:rPr kumimoji="0" lang="nl-NL" altLang="nl-NL" sz="1400" dirty="0">
                <a:latin typeface="+mj-lt"/>
              </a:rPr>
            </a:br>
            <a:r>
              <a:rPr kumimoji="0" lang="nl-NL" altLang="nl-NL" sz="1400" dirty="0" smtClean="0">
                <a:latin typeface="+mj-lt"/>
              </a:rPr>
              <a:t>238 </a:t>
            </a:r>
            <a:r>
              <a:rPr kumimoji="0" lang="nl-NL" altLang="nl-NL" sz="1400" dirty="0">
                <a:latin typeface="+mj-lt"/>
              </a:rPr>
              <a:t>- 127 - 000</a:t>
            </a: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Items</a:t>
            </a:r>
            <a:r>
              <a:rPr kumimoji="0" lang="en-US" altLang="nl-NL" sz="1400" b="1" dirty="0">
                <a:latin typeface="+mj-lt"/>
              </a:rPr>
              <a:t/>
            </a:r>
            <a:br>
              <a:rPr kumimoji="0" lang="en-US" altLang="nl-NL" sz="1400" b="1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26 bold</a:t>
            </a:r>
            <a:r>
              <a:rPr kumimoji="0" lang="en-US" altLang="nl-NL" sz="1400" dirty="0">
                <a:latin typeface="+mj-lt"/>
              </a:rPr>
              <a:t/>
            </a:r>
            <a:br>
              <a:rPr kumimoji="0" lang="en-US" altLang="nl-NL" sz="1400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4 </a:t>
            </a:r>
            <a:r>
              <a:rPr kumimoji="0" lang="en-US" altLang="nl-NL" sz="1400" dirty="0">
                <a:latin typeface="+mj-lt"/>
              </a:rPr>
              <a:t>- 101 - </a:t>
            </a:r>
            <a:r>
              <a:rPr kumimoji="0" lang="en-US" altLang="nl-NL" sz="1400" dirty="0" smtClean="0">
                <a:latin typeface="+mj-lt"/>
              </a:rPr>
              <a:t>013</a:t>
            </a:r>
            <a:r>
              <a:rPr kumimoji="0" lang="en-US" altLang="nl-NL" sz="1400" dirty="0">
                <a:latin typeface="+mj-lt"/>
              </a:rPr>
              <a:t>	</a:t>
            </a:r>
            <a:endParaRPr kumimoji="0" lang="en-US" altLang="nl-NL" sz="1400" dirty="0" smtClean="0">
              <a:latin typeface="+mj-lt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-1712913" y="417513"/>
            <a:ext cx="179388" cy="1793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6" name="Text Box 28"/>
          <p:cNvSpPr txBox="1">
            <a:spLocks noChangeArrowheads="1"/>
          </p:cNvSpPr>
          <p:nvPr/>
        </p:nvSpPr>
        <p:spPr bwMode="auto">
          <a:xfrm>
            <a:off x="-1685925" y="44450"/>
            <a:ext cx="6445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nl-NL" sz="1600" b="1" dirty="0" err="1">
                <a:latin typeface="+mj-lt"/>
                <a:ea typeface="ＭＳ Ｐゴシック" charset="0"/>
              </a:rPr>
              <a:t>Colours</a:t>
            </a:r>
            <a:endParaRPr kumimoji="0" lang="en-US" sz="1600" b="1" dirty="0">
              <a:latin typeface="+mj-lt"/>
              <a:ea typeface="ＭＳ Ｐゴシック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-1712913" y="1112838"/>
            <a:ext cx="179388" cy="1793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1200" y="260648"/>
            <a:ext cx="8280000" cy="648072"/>
          </a:xfrm>
        </p:spPr>
        <p:txBody>
          <a:bodyPr lIns="0" tIns="0" rIns="0" bIns="0" anchor="t">
            <a:noAutofit/>
          </a:bodyPr>
          <a:lstStyle>
            <a:lvl1pPr algn="l">
              <a:defRPr sz="42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27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331200" y="1201964"/>
            <a:ext cx="8280000" cy="4387922"/>
          </a:xfrm>
        </p:spPr>
        <p:txBody>
          <a:bodyPr lIns="0" tIns="0" rIns="0" bIns="0">
            <a:noAutofit/>
          </a:bodyPr>
          <a:lstStyle>
            <a:lvl1pPr marL="266700" indent="-266700">
              <a:spcBef>
                <a:spcPts val="0"/>
              </a:spcBef>
              <a:buFont typeface="Arial" panose="020B0604020202020204" pitchFamily="34" charset="0"/>
              <a:buChar char="•"/>
              <a:defRPr sz="2600" b="1">
                <a:solidFill>
                  <a:schemeClr val="accent1"/>
                </a:solidFill>
              </a:defRPr>
            </a:lvl1pPr>
            <a:lvl2pPr marL="533400" indent="-266700">
              <a:spcBef>
                <a:spcPts val="0"/>
              </a:spcBef>
              <a:buFont typeface="Courier New" panose="02070309020205020404" pitchFamily="49" charset="0"/>
              <a:buChar char="o"/>
              <a:defRPr sz="2600" b="1">
                <a:solidFill>
                  <a:schemeClr val="accent1"/>
                </a:solidFill>
              </a:defRPr>
            </a:lvl2pPr>
            <a:lvl3pPr marL="812800" indent="-266700">
              <a:spcBef>
                <a:spcPts val="0"/>
              </a:spcBef>
              <a:buFont typeface="Calibri" panose="020F0502020204030204" pitchFamily="34" charset="0"/>
              <a:buChar char="-"/>
              <a:defRPr sz="2600" b="1">
                <a:solidFill>
                  <a:schemeClr val="accent1"/>
                </a:solidFill>
              </a:defRPr>
            </a:lvl3pPr>
            <a:lvl4pPr marL="1079500" indent="-266700">
              <a:spcBef>
                <a:spcPts val="0"/>
              </a:spcBef>
              <a:buFont typeface="Calibri" panose="020F0502020204030204" pitchFamily="34" charset="0"/>
              <a:buChar char="&gt;"/>
              <a:defRPr sz="2600" b="1">
                <a:solidFill>
                  <a:schemeClr val="accent1"/>
                </a:solidFill>
              </a:defRPr>
            </a:lvl4pPr>
            <a:lvl5pPr marL="1346200" indent="-266700">
              <a:spcBef>
                <a:spcPts val="0"/>
              </a:spcBef>
              <a:buFont typeface="Symbol" panose="05050102010706020507" pitchFamily="18" charset="2"/>
              <a:buChar char="-"/>
              <a:defRPr sz="2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13356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-1712913" y="417513"/>
            <a:ext cx="179388" cy="17938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-1712913" y="1112838"/>
            <a:ext cx="179388" cy="1793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-1712913" y="2441575"/>
            <a:ext cx="179388" cy="179388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dirty="0">
              <a:latin typeface="+mj-lt"/>
              <a:ea typeface="ＭＳ Ｐゴシック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-1712913" y="3152775"/>
            <a:ext cx="179388" cy="1793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dirty="0">
              <a:latin typeface="+mj-lt"/>
              <a:ea typeface="ＭＳ Ｐゴシック" charset="0"/>
            </a:endParaRPr>
          </a:p>
        </p:txBody>
      </p:sp>
      <p:sp>
        <p:nvSpPr>
          <p:cNvPr id="10" name="Text Box 28"/>
          <p:cNvSpPr txBox="1">
            <a:spLocks noChangeArrowheads="1"/>
          </p:cNvSpPr>
          <p:nvPr/>
        </p:nvSpPr>
        <p:spPr bwMode="auto">
          <a:xfrm>
            <a:off x="-1685925" y="44450"/>
            <a:ext cx="64452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nl-NL" sz="1600" b="1" dirty="0" err="1">
                <a:latin typeface="+mj-lt"/>
                <a:ea typeface="ＭＳ Ｐゴシック" charset="0"/>
              </a:rPr>
              <a:t>Colours</a:t>
            </a:r>
            <a:endParaRPr kumimoji="0" lang="en-US" sz="1600" b="1" dirty="0">
              <a:latin typeface="+mj-lt"/>
              <a:ea typeface="ＭＳ Ｐゴシック" charset="0"/>
            </a:endParaRPr>
          </a:p>
        </p:txBody>
      </p:sp>
      <p:sp>
        <p:nvSpPr>
          <p:cNvPr id="13" name="Rectangle 29"/>
          <p:cNvSpPr>
            <a:spLocks noChangeArrowheads="1"/>
          </p:cNvSpPr>
          <p:nvPr/>
        </p:nvSpPr>
        <p:spPr bwMode="auto">
          <a:xfrm>
            <a:off x="-1436688" y="360363"/>
            <a:ext cx="2160588" cy="3490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nl-NL" altLang="nl-NL" sz="1400" b="1" dirty="0" err="1" smtClean="0">
                <a:latin typeface="+mj-lt"/>
              </a:rPr>
              <a:t>Title</a:t>
            </a:r>
            <a:r>
              <a:rPr kumimoji="0" lang="nl-NL" altLang="nl-NL" sz="1400" dirty="0">
                <a:latin typeface="+mj-lt"/>
              </a:rPr>
              <a:t>	</a:t>
            </a:r>
            <a:br>
              <a:rPr kumimoji="0" lang="nl-NL" altLang="nl-NL" sz="1400" dirty="0">
                <a:latin typeface="+mj-lt"/>
              </a:rPr>
            </a:br>
            <a:r>
              <a:rPr kumimoji="0" lang="nl-NL" altLang="nl-NL" sz="1400" dirty="0" err="1" smtClean="0">
                <a:latin typeface="+mj-lt"/>
              </a:rPr>
              <a:t>Calibri</a:t>
            </a:r>
            <a:r>
              <a:rPr kumimoji="0" lang="nl-NL" altLang="nl-NL" sz="1400" dirty="0" smtClean="0">
                <a:latin typeface="+mj-lt"/>
              </a:rPr>
              <a:t> - 30 </a:t>
            </a:r>
            <a:r>
              <a:rPr kumimoji="0" lang="nl-NL" altLang="nl-NL" sz="1400" dirty="0" err="1">
                <a:latin typeface="+mj-lt"/>
              </a:rPr>
              <a:t>bold</a:t>
            </a:r>
            <a:r>
              <a:rPr kumimoji="0" lang="nl-NL" altLang="nl-NL" sz="1400" dirty="0">
                <a:latin typeface="+mj-lt"/>
              </a:rPr>
              <a:t>	</a:t>
            </a:r>
            <a:r>
              <a:rPr kumimoji="0" lang="nl-NL" altLang="nl-NL" sz="1400" dirty="0" smtClean="0">
                <a:latin typeface="+mj-lt"/>
              </a:rPr>
              <a:t/>
            </a:r>
            <a:br>
              <a:rPr kumimoji="0" lang="nl-NL" altLang="nl-NL" sz="1400" dirty="0" smtClean="0">
                <a:latin typeface="+mj-lt"/>
              </a:rPr>
            </a:br>
            <a:r>
              <a:rPr kumimoji="0" lang="nl-NL" altLang="nl-NL" sz="1400" dirty="0" smtClean="0">
                <a:latin typeface="+mj-lt"/>
              </a:rPr>
              <a:t>238 </a:t>
            </a:r>
            <a:r>
              <a:rPr kumimoji="0" lang="nl-NL" altLang="nl-NL" sz="1400" dirty="0">
                <a:latin typeface="+mj-lt"/>
              </a:rPr>
              <a:t>- 127 - 000</a:t>
            </a: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Subtitle</a:t>
            </a:r>
            <a:r>
              <a:rPr kumimoji="0" lang="en-US" altLang="nl-NL" sz="1400" b="1" dirty="0">
                <a:latin typeface="+mj-lt"/>
              </a:rPr>
              <a:t/>
            </a:r>
            <a:br>
              <a:rPr kumimoji="0" lang="en-US" altLang="nl-NL" sz="1400" b="1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26 </a:t>
            </a:r>
            <a:r>
              <a:rPr kumimoji="0" lang="en-US" altLang="nl-NL" sz="1400" dirty="0">
                <a:latin typeface="+mj-lt"/>
              </a:rPr>
              <a:t>bold	</a:t>
            </a:r>
            <a:r>
              <a:rPr kumimoji="0" lang="en-US" altLang="nl-NL" sz="1400" dirty="0" smtClean="0">
                <a:latin typeface="+mj-lt"/>
              </a:rPr>
              <a:t/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4 </a:t>
            </a:r>
            <a:r>
              <a:rPr kumimoji="0" lang="en-US" altLang="nl-NL" sz="1400" dirty="0">
                <a:latin typeface="+mj-lt"/>
              </a:rPr>
              <a:t>- 101 </a:t>
            </a:r>
            <a:r>
              <a:rPr kumimoji="0" lang="en-US" altLang="nl-NL" sz="1400" dirty="0" smtClean="0">
                <a:latin typeface="+mj-lt"/>
              </a:rPr>
              <a:t>- 013</a:t>
            </a: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Heading </a:t>
            </a:r>
            <a:br>
              <a:rPr kumimoji="0" lang="en-US" altLang="nl-NL" sz="1400" b="1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18 bold</a:t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8 - 127 - 000</a:t>
            </a:r>
            <a:endParaRPr kumimoji="0" lang="en-US" altLang="nl-NL" sz="1400" dirty="0">
              <a:latin typeface="+mj-lt"/>
            </a:endParaRP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Plain text </a:t>
            </a:r>
            <a:r>
              <a:rPr kumimoji="0" lang="en-US" altLang="nl-NL" sz="1400" b="1" dirty="0">
                <a:latin typeface="+mj-lt"/>
              </a:rPr>
              <a:t/>
            </a:r>
            <a:br>
              <a:rPr kumimoji="0" lang="en-US" altLang="nl-NL" sz="1400" b="1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18</a:t>
            </a:r>
            <a:r>
              <a:rPr kumimoji="0" lang="en-US" altLang="nl-NL" sz="1400" dirty="0">
                <a:latin typeface="+mj-lt"/>
              </a:rPr>
              <a:t>	</a:t>
            </a:r>
            <a:r>
              <a:rPr kumimoji="0" lang="en-US" altLang="nl-NL" sz="1400" dirty="0" smtClean="0">
                <a:latin typeface="+mj-lt"/>
              </a:rPr>
              <a:t/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000 </a:t>
            </a:r>
            <a:r>
              <a:rPr kumimoji="0" lang="en-US" altLang="nl-NL" sz="1400" dirty="0">
                <a:latin typeface="+mj-lt"/>
              </a:rPr>
              <a:t>- 000 - 000</a:t>
            </a:r>
          </a:p>
          <a:p>
            <a:pPr eaLnBrk="1" fontAlgn="auto" hangingPunct="1">
              <a:spcBef>
                <a:spcPts val="0"/>
              </a:spcBef>
              <a:spcAft>
                <a:spcPct val="30000"/>
              </a:spcAft>
              <a:defRPr/>
            </a:pPr>
            <a:r>
              <a:rPr kumimoji="0" lang="en-US" altLang="nl-NL" sz="1400" b="1" dirty="0" smtClean="0">
                <a:latin typeface="+mj-lt"/>
              </a:rPr>
              <a:t>Highlighted text </a:t>
            </a:r>
            <a:r>
              <a:rPr kumimoji="0" lang="en-US" altLang="nl-NL" sz="1400" dirty="0">
                <a:latin typeface="+mj-lt"/>
              </a:rPr>
              <a:t/>
            </a:r>
            <a:br>
              <a:rPr kumimoji="0" lang="en-US" altLang="nl-NL" sz="1400" dirty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Calibri - 18 bold</a:t>
            </a:r>
            <a:r>
              <a:rPr kumimoji="0" lang="en-US" altLang="nl-NL" sz="1400" dirty="0">
                <a:latin typeface="+mj-lt"/>
              </a:rPr>
              <a:t>	</a:t>
            </a:r>
            <a:r>
              <a:rPr kumimoji="0" lang="en-US" altLang="nl-NL" sz="1400" dirty="0" smtClean="0">
                <a:latin typeface="+mj-lt"/>
              </a:rPr>
              <a:t/>
            </a:r>
            <a:br>
              <a:rPr kumimoji="0" lang="en-US" altLang="nl-NL" sz="1400" dirty="0" smtClean="0">
                <a:latin typeface="+mj-lt"/>
              </a:rPr>
            </a:br>
            <a:r>
              <a:rPr kumimoji="0" lang="en-US" altLang="nl-NL" sz="1400" dirty="0" smtClean="0">
                <a:latin typeface="+mj-lt"/>
              </a:rPr>
              <a:t>230 </a:t>
            </a:r>
            <a:r>
              <a:rPr kumimoji="0" lang="en-US" altLang="nl-NL" sz="1400" dirty="0">
                <a:latin typeface="+mj-lt"/>
              </a:rPr>
              <a:t>- 068 - </a:t>
            </a:r>
            <a:r>
              <a:rPr kumimoji="0" lang="en-US" altLang="nl-NL" sz="1400" dirty="0" smtClean="0">
                <a:latin typeface="+mj-lt"/>
              </a:rPr>
              <a:t>021</a:t>
            </a:r>
            <a:endParaRPr kumimoji="0" lang="en-US" altLang="nl-NL" sz="1400" dirty="0">
              <a:latin typeface="+mj-lt"/>
            </a:endParaRPr>
          </a:p>
        </p:txBody>
      </p:sp>
      <p:sp>
        <p:nvSpPr>
          <p:cNvPr id="14" name="Tijdelijke aanduiding voor dianummer 5"/>
          <p:cNvSpPr txBox="1">
            <a:spLocks/>
          </p:cNvSpPr>
          <p:nvPr/>
        </p:nvSpPr>
        <p:spPr>
          <a:xfrm>
            <a:off x="3405188" y="635873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F8EF4F2B-7DA9-4C1C-B366-3B142F81D42A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-1712913" y="1809750"/>
            <a:ext cx="179388" cy="1793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pic>
        <p:nvPicPr>
          <p:cNvPr id="16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31200" y="1567543"/>
            <a:ext cx="8280000" cy="4035600"/>
          </a:xfrm>
        </p:spPr>
        <p:txBody>
          <a:bodyPr>
            <a:no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11221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ep 9"/>
          <p:cNvGrpSpPr>
            <a:grpSpLocks/>
          </p:cNvGrpSpPr>
          <p:nvPr/>
        </p:nvGrpSpPr>
        <p:grpSpPr bwMode="auto">
          <a:xfrm>
            <a:off x="-1712913" y="44450"/>
            <a:ext cx="2436813" cy="3806825"/>
            <a:chOff x="-2895229" y="393897"/>
            <a:chExt cx="2437439" cy="3806099"/>
          </a:xfrm>
        </p:grpSpPr>
        <p:sp>
          <p:nvSpPr>
            <p:cNvPr id="7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2895229" y="2792153"/>
              <a:ext cx="179434" cy="17935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0" name="Rectangle 12"/>
            <p:cNvSpPr>
              <a:spLocks noChangeArrowheads="1"/>
            </p:cNvSpPr>
            <p:nvPr userDrawn="1"/>
          </p:nvSpPr>
          <p:spPr bwMode="auto">
            <a:xfrm>
              <a:off x="-2895229" y="3501629"/>
              <a:ext cx="179434" cy="1793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3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14" name="Rectangle 29"/>
            <p:cNvSpPr>
              <a:spLocks noChangeArrowheads="1"/>
            </p:cNvSpPr>
            <p:nvPr userDrawn="1"/>
          </p:nvSpPr>
          <p:spPr bwMode="auto">
            <a:xfrm>
              <a:off x="-2617345" y="709750"/>
              <a:ext cx="2159555" cy="34902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Heading </a:t>
              </a:r>
              <a:br>
                <a:rPr kumimoji="0" lang="en-US" altLang="nl-NL" sz="1400" b="1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 bold</a:t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8 - 127 - 000</a:t>
              </a:r>
              <a:endParaRPr kumimoji="0" lang="en-US" altLang="nl-NL" sz="1400" dirty="0">
                <a:latin typeface="+mj-lt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Plain text 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</a:t>
              </a:r>
              <a:r>
                <a:rPr kumimoji="0" lang="en-US" altLang="nl-NL" sz="1400" dirty="0">
                  <a:latin typeface="+mj-lt"/>
                </a:rPr>
                <a:t>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000 </a:t>
              </a:r>
              <a:r>
                <a:rPr kumimoji="0" lang="en-US" altLang="nl-NL" sz="1400" dirty="0">
                  <a:latin typeface="+mj-lt"/>
                </a:rPr>
                <a:t>- 000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Highlighted text </a:t>
              </a:r>
              <a:r>
                <a:rPr kumimoji="0" lang="en-US" altLang="nl-NL" sz="1400" dirty="0">
                  <a:latin typeface="+mj-lt"/>
                </a:rPr>
                <a:t/>
              </a:r>
              <a:br>
                <a:rPr kumimoji="0" lang="en-US" altLang="nl-NL" sz="1400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 bold</a:t>
              </a:r>
              <a:r>
                <a:rPr kumimoji="0" lang="en-US" altLang="nl-NL" sz="1400" dirty="0">
                  <a:latin typeface="+mj-lt"/>
                </a:rPr>
                <a:t>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0 </a:t>
              </a:r>
              <a:r>
                <a:rPr kumimoji="0" lang="en-US" altLang="nl-NL" sz="1400" dirty="0">
                  <a:latin typeface="+mj-lt"/>
                </a:rPr>
                <a:t>- 068 - </a:t>
              </a:r>
              <a:r>
                <a:rPr kumimoji="0" lang="en-US" altLang="nl-NL" sz="1400" dirty="0" smtClean="0">
                  <a:latin typeface="+mj-lt"/>
                </a:rPr>
                <a:t>021</a:t>
              </a:r>
              <a:endParaRPr kumimoji="0" lang="en-US" altLang="nl-NL" sz="1400" dirty="0">
                <a:latin typeface="+mj-lt"/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-2895229" y="2158725"/>
              <a:ext cx="179387" cy="1793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</p:grpSp>
      <p:sp>
        <p:nvSpPr>
          <p:cNvPr id="16" name="Tijdelijke aanduiding voor dianummer 5"/>
          <p:cNvSpPr txBox="1">
            <a:spLocks/>
          </p:cNvSpPr>
          <p:nvPr/>
        </p:nvSpPr>
        <p:spPr>
          <a:xfrm>
            <a:off x="3405188" y="6343649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67381646-EECD-465D-A75B-023664CA8B1E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pic>
        <p:nvPicPr>
          <p:cNvPr id="17" name="Picture 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18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31200" y="1567543"/>
            <a:ext cx="3950514" cy="4035600"/>
          </a:xfrm>
        </p:spPr>
        <p:txBody>
          <a:bodyPr>
            <a:no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 dirty="0"/>
          </a:p>
        </p:txBody>
      </p:sp>
      <p:sp>
        <p:nvSpPr>
          <p:cNvPr id="19" name="Tijdelijke aanduiding voor tekst 7"/>
          <p:cNvSpPr>
            <a:spLocks noGrp="1"/>
          </p:cNvSpPr>
          <p:nvPr>
            <p:ph type="body" sz="quarter" idx="17"/>
          </p:nvPr>
        </p:nvSpPr>
        <p:spPr>
          <a:xfrm>
            <a:off x="4660685" y="1567543"/>
            <a:ext cx="3950514" cy="4035600"/>
          </a:xfrm>
        </p:spPr>
        <p:txBody>
          <a:bodyPr>
            <a:no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2329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ep 12"/>
          <p:cNvGrpSpPr>
            <a:grpSpLocks/>
          </p:cNvGrpSpPr>
          <p:nvPr/>
        </p:nvGrpSpPr>
        <p:grpSpPr bwMode="auto">
          <a:xfrm>
            <a:off x="-1712913" y="44450"/>
            <a:ext cx="2498726" cy="3806825"/>
            <a:chOff x="-2895229" y="393897"/>
            <a:chExt cx="2499375" cy="3806099"/>
          </a:xfrm>
        </p:grpSpPr>
        <p:sp>
          <p:nvSpPr>
            <p:cNvPr id="7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2895229" y="2792153"/>
              <a:ext cx="179435" cy="17935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0" name="Rectangle 12"/>
            <p:cNvSpPr>
              <a:spLocks noChangeArrowheads="1"/>
            </p:cNvSpPr>
            <p:nvPr userDrawn="1"/>
          </p:nvSpPr>
          <p:spPr bwMode="auto">
            <a:xfrm>
              <a:off x="-2895229" y="3501629"/>
              <a:ext cx="179435" cy="1793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en-US" dirty="0">
                <a:latin typeface="+mj-lt"/>
                <a:ea typeface="ＭＳ Ｐゴシック" charset="0"/>
              </a:endParaRPr>
            </a:p>
          </p:txBody>
        </p:sp>
        <p:sp>
          <p:nvSpPr>
            <p:cNvPr id="13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5" cy="246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14" name="Rectangle 29"/>
            <p:cNvSpPr>
              <a:spLocks noChangeArrowheads="1"/>
            </p:cNvSpPr>
            <p:nvPr userDrawn="1"/>
          </p:nvSpPr>
          <p:spPr bwMode="auto">
            <a:xfrm>
              <a:off x="-2617344" y="709750"/>
              <a:ext cx="2221490" cy="34902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Heading </a:t>
              </a:r>
              <a:br>
                <a:rPr kumimoji="0" lang="en-US" altLang="nl-NL" sz="1400" b="1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 bold</a:t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8 - 127 - 000</a:t>
              </a:r>
              <a:endParaRPr kumimoji="0" lang="en-US" altLang="nl-NL" sz="1400" dirty="0">
                <a:latin typeface="+mj-lt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Plain text 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</a:t>
              </a:r>
              <a:r>
                <a:rPr kumimoji="0" lang="en-US" altLang="nl-NL" sz="1400" dirty="0">
                  <a:latin typeface="+mj-lt"/>
                </a:rPr>
                <a:t>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000 </a:t>
              </a:r>
              <a:r>
                <a:rPr kumimoji="0" lang="en-US" altLang="nl-NL" sz="1400" dirty="0">
                  <a:latin typeface="+mj-lt"/>
                </a:rPr>
                <a:t>- 000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Highlighted text </a:t>
              </a:r>
              <a:r>
                <a:rPr kumimoji="0" lang="en-US" altLang="nl-NL" sz="1400" dirty="0">
                  <a:latin typeface="+mj-lt"/>
                </a:rPr>
                <a:t/>
              </a:r>
              <a:br>
                <a:rPr kumimoji="0" lang="en-US" altLang="nl-NL" sz="1400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18 bold</a:t>
              </a:r>
              <a:r>
                <a:rPr kumimoji="0" lang="en-US" altLang="nl-NL" sz="1400" dirty="0">
                  <a:latin typeface="+mj-lt"/>
                </a:rPr>
                <a:t>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0 </a:t>
              </a:r>
              <a:r>
                <a:rPr kumimoji="0" lang="en-US" altLang="nl-NL" sz="1400" dirty="0">
                  <a:latin typeface="+mj-lt"/>
                </a:rPr>
                <a:t>- 068 - </a:t>
              </a:r>
              <a:r>
                <a:rPr kumimoji="0" lang="en-US" altLang="nl-NL" sz="1400" dirty="0" smtClean="0">
                  <a:latin typeface="+mj-lt"/>
                </a:rPr>
                <a:t>021</a:t>
              </a: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5" name="Tijdelijke aanduiding voor dianummer 5"/>
          <p:cNvSpPr txBox="1">
            <a:spLocks/>
          </p:cNvSpPr>
          <p:nvPr/>
        </p:nvSpPr>
        <p:spPr>
          <a:xfrm>
            <a:off x="3405188" y="63436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9406E7FA-0354-4EA8-A32C-8F7EF239F6CC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-1712913" y="1809750"/>
            <a:ext cx="179388" cy="1793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kumimoji="0" lang="en-US" altLang="ja-JP" dirty="0"/>
          </a:p>
        </p:txBody>
      </p:sp>
      <p:pic>
        <p:nvPicPr>
          <p:cNvPr id="18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15"/>
          </p:nvPr>
        </p:nvSpPr>
        <p:spPr>
          <a:xfrm>
            <a:off x="4651975" y="1572150"/>
            <a:ext cx="3959225" cy="4032250"/>
          </a:xfrm>
        </p:spPr>
        <p:txBody>
          <a:bodyPr rtlCol="0">
            <a:noAutofit/>
          </a:bodyPr>
          <a:lstStyle>
            <a:lvl1pPr marL="0" indent="0">
              <a:buNone/>
              <a:defRPr lang="nl-NL" sz="1800" dirty="0"/>
            </a:lvl1pPr>
          </a:lstStyle>
          <a:p>
            <a:pPr lvl="0"/>
            <a:r>
              <a:rPr lang="ja-JP" altLang="en-US" noProof="0" dirty="0" smtClean="0"/>
              <a:t>アイコンをクリックして図を追加</a:t>
            </a:r>
            <a:endParaRPr lang="nl-NL" noProof="0" dirty="0"/>
          </a:p>
        </p:txBody>
      </p:sp>
      <p:sp>
        <p:nvSpPr>
          <p:cNvPr id="16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31200" y="1567543"/>
            <a:ext cx="3950514" cy="4035600"/>
          </a:xfrm>
        </p:spPr>
        <p:txBody>
          <a:bodyPr>
            <a:no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5246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ep 12"/>
          <p:cNvGrpSpPr>
            <a:grpSpLocks/>
          </p:cNvGrpSpPr>
          <p:nvPr/>
        </p:nvGrpSpPr>
        <p:grpSpPr bwMode="auto">
          <a:xfrm>
            <a:off x="-1712913" y="44450"/>
            <a:ext cx="2436813" cy="1889125"/>
            <a:chOff x="-2895229" y="393897"/>
            <a:chExt cx="2437439" cy="1888651"/>
          </a:xfrm>
        </p:grpSpPr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9" name="Rectangle 29"/>
            <p:cNvSpPr>
              <a:spLocks noChangeArrowheads="1"/>
            </p:cNvSpPr>
            <p:nvPr userDrawn="1"/>
          </p:nvSpPr>
          <p:spPr bwMode="auto">
            <a:xfrm>
              <a:off x="-2617345" y="709731"/>
              <a:ext cx="2159555" cy="1572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  <a:br>
                <a:rPr kumimoji="0" lang="en-US" altLang="nl-NL" sz="1400" dirty="0" smtClean="0">
                  <a:latin typeface="+mj-lt"/>
                </a:rPr>
              </a:b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0" name="Tijdelijke aanduiding voor dianummer 5"/>
          <p:cNvSpPr txBox="1">
            <a:spLocks/>
          </p:cNvSpPr>
          <p:nvPr/>
        </p:nvSpPr>
        <p:spPr>
          <a:xfrm>
            <a:off x="3405188" y="6343649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fld id="{5D42AEA1-9FDA-4560-9B28-E02F069F4F41}" type="slidenum">
              <a:rPr kumimoji="0" lang="nl-NL" altLang="ja-JP" sz="1200"/>
              <a:pPr algn="r"/>
              <a:t>‹#›</a:t>
            </a:fld>
            <a:endParaRPr kumimoji="0" lang="nl-NL" altLang="ja-JP" sz="1200" dirty="0"/>
          </a:p>
        </p:txBody>
      </p:sp>
      <p:pic>
        <p:nvPicPr>
          <p:cNvPr id="13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787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787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15"/>
          </p:nvPr>
        </p:nvSpPr>
        <p:spPr>
          <a:xfrm>
            <a:off x="331787" y="1268760"/>
            <a:ext cx="8280000" cy="4464000"/>
          </a:xfrm>
        </p:spPr>
        <p:txBody>
          <a:bodyPr rtlCol="0">
            <a:noAutofit/>
          </a:bodyPr>
          <a:lstStyle>
            <a:lvl1pPr marL="0" indent="0">
              <a:buNone/>
              <a:defRPr lang="nl-NL" sz="1800" dirty="0"/>
            </a:lvl1pPr>
          </a:lstStyle>
          <a:p>
            <a:pPr lvl="0"/>
            <a:r>
              <a:rPr lang="ja-JP" altLang="en-US" noProof="0" dirty="0" smtClean="0"/>
              <a:t>アイコンをクリックして図を追加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3716672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"/>
          <p:cNvGrpSpPr>
            <a:grpSpLocks/>
          </p:cNvGrpSpPr>
          <p:nvPr/>
        </p:nvGrpSpPr>
        <p:grpSpPr bwMode="auto">
          <a:xfrm>
            <a:off x="-1712913" y="44450"/>
            <a:ext cx="2436813" cy="962025"/>
            <a:chOff x="-2895229" y="393897"/>
            <a:chExt cx="2437439" cy="962244"/>
          </a:xfrm>
        </p:grpSpPr>
        <p:sp>
          <p:nvSpPr>
            <p:cNvPr id="5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6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7" name="Rectangle 29"/>
            <p:cNvSpPr>
              <a:spLocks noChangeArrowheads="1"/>
            </p:cNvSpPr>
            <p:nvPr userDrawn="1"/>
          </p:nvSpPr>
          <p:spPr bwMode="auto">
            <a:xfrm>
              <a:off x="-2617345" y="709882"/>
              <a:ext cx="2159555" cy="6462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</a:t>
              </a:r>
              <a:r>
                <a:rPr kumimoji="0" lang="nl-NL" altLang="nl-NL" sz="1400" dirty="0" smtClean="0">
                  <a:latin typeface="+mj-lt"/>
                </a:rPr>
                <a:t>000</a:t>
              </a:r>
              <a:endParaRPr kumimoji="0" lang="nl-NL" altLang="nl-NL" sz="1400" dirty="0">
                <a:latin typeface="+mj-lt"/>
              </a:endParaRPr>
            </a:p>
          </p:txBody>
        </p:sp>
      </p:grpSp>
      <p:sp>
        <p:nvSpPr>
          <p:cNvPr id="3" name="Tijdelijke aanduiding voor afbeelding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6858000"/>
          </a:xfrm>
        </p:spPr>
        <p:txBody>
          <a:bodyPr rtlCol="0">
            <a:normAutofit/>
          </a:bodyPr>
          <a:lstStyle>
            <a:lvl1pPr marL="0" indent="0">
              <a:buNone/>
              <a:defRPr lang="nl-NL" sz="1800" dirty="0"/>
            </a:lvl1pPr>
          </a:lstStyle>
          <a:p>
            <a:pPr lvl="0"/>
            <a:r>
              <a:rPr lang="ja-JP" altLang="en-US" noProof="0" dirty="0" smtClean="0"/>
              <a:t>アイコンをクリックして図を追加</a:t>
            </a:r>
            <a:endParaRPr lang="nl-NL" noProof="0" dirty="0"/>
          </a:p>
        </p:txBody>
      </p: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468000"/>
          </a:xfrm>
          <a:solidFill>
            <a:schemeClr val="bg1"/>
          </a:solidFill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rgbClr val="EF7F00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25759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2968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ep 12"/>
          <p:cNvGrpSpPr>
            <a:grpSpLocks/>
          </p:cNvGrpSpPr>
          <p:nvPr/>
        </p:nvGrpSpPr>
        <p:grpSpPr bwMode="auto">
          <a:xfrm>
            <a:off x="-1712913" y="44450"/>
            <a:ext cx="2436813" cy="1889125"/>
            <a:chOff x="-2895229" y="393897"/>
            <a:chExt cx="2437439" cy="1888651"/>
          </a:xfrm>
        </p:grpSpPr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9" name="Rectangle 29"/>
            <p:cNvSpPr>
              <a:spLocks noChangeArrowheads="1"/>
            </p:cNvSpPr>
            <p:nvPr userDrawn="1"/>
          </p:nvSpPr>
          <p:spPr bwMode="auto">
            <a:xfrm>
              <a:off x="-2617345" y="709731"/>
              <a:ext cx="2159555" cy="1572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  <a:br>
                <a:rPr kumimoji="0" lang="en-US" altLang="nl-NL" sz="1400" dirty="0" smtClean="0">
                  <a:latin typeface="+mj-lt"/>
                </a:rPr>
              </a:b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0" name="Tijdelijke aanduiding voor dianummer 5"/>
          <p:cNvSpPr txBox="1">
            <a:spLocks/>
          </p:cNvSpPr>
          <p:nvPr/>
        </p:nvSpPr>
        <p:spPr>
          <a:xfrm>
            <a:off x="3405188" y="6334125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335BE045-5414-48A8-B8E6-6BA333DFCE6F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pic>
        <p:nvPicPr>
          <p:cNvPr id="13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4" name="Tijdelijke aanduiding voor grafiek 3"/>
          <p:cNvSpPr>
            <a:spLocks noGrp="1"/>
          </p:cNvSpPr>
          <p:nvPr>
            <p:ph type="chart" sz="quarter" idx="16"/>
          </p:nvPr>
        </p:nvSpPr>
        <p:spPr>
          <a:xfrm>
            <a:off x="331200" y="1268413"/>
            <a:ext cx="8280000" cy="4464050"/>
          </a:xfrm>
        </p:spPr>
        <p:txBody>
          <a:bodyPr rtlCol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ja-JP" altLang="en-US" noProof="0" dirty="0" smtClean="0"/>
              <a:t>アイコンをクリックしてグラフを追加</a:t>
            </a:r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1068058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ep 12"/>
          <p:cNvGrpSpPr>
            <a:grpSpLocks/>
          </p:cNvGrpSpPr>
          <p:nvPr/>
        </p:nvGrpSpPr>
        <p:grpSpPr bwMode="auto">
          <a:xfrm>
            <a:off x="-1712913" y="44450"/>
            <a:ext cx="2436813" cy="1889125"/>
            <a:chOff x="-2895229" y="393897"/>
            <a:chExt cx="2437439" cy="1888651"/>
          </a:xfrm>
        </p:grpSpPr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9" name="Rectangle 29"/>
            <p:cNvSpPr>
              <a:spLocks noChangeArrowheads="1"/>
            </p:cNvSpPr>
            <p:nvPr userDrawn="1"/>
          </p:nvSpPr>
          <p:spPr bwMode="auto">
            <a:xfrm>
              <a:off x="-2617345" y="709731"/>
              <a:ext cx="2159555" cy="1572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  <a:br>
                <a:rPr kumimoji="0" lang="en-US" altLang="nl-NL" sz="1400" dirty="0" smtClean="0">
                  <a:latin typeface="+mj-lt"/>
                </a:rPr>
              </a:br>
              <a:endParaRPr kumimoji="0" lang="en-US" altLang="nl-NL" sz="1400" dirty="0">
                <a:latin typeface="+mj-lt"/>
              </a:endParaRPr>
            </a:p>
          </p:txBody>
        </p:sp>
      </p:grpSp>
      <p:sp>
        <p:nvSpPr>
          <p:cNvPr id="10" name="Tijdelijke aanduiding voor dianummer 5"/>
          <p:cNvSpPr txBox="1">
            <a:spLocks/>
          </p:cNvSpPr>
          <p:nvPr/>
        </p:nvSpPr>
        <p:spPr>
          <a:xfrm>
            <a:off x="3405188" y="6343649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80D43040-8E5F-4306-B6F5-C6B0F9751E83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pic>
        <p:nvPicPr>
          <p:cNvPr id="13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4800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  <p:sp>
        <p:nvSpPr>
          <p:cNvPr id="3" name="Tijdelijke aanduiding voor tabel 2"/>
          <p:cNvSpPr>
            <a:spLocks noGrp="1"/>
          </p:cNvSpPr>
          <p:nvPr>
            <p:ph type="tbl" sz="quarter" idx="17"/>
          </p:nvPr>
        </p:nvSpPr>
        <p:spPr>
          <a:xfrm>
            <a:off x="331200" y="1268413"/>
            <a:ext cx="8280000" cy="4464050"/>
          </a:xfrm>
        </p:spPr>
        <p:txBody>
          <a:bodyPr rtlCol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ja-JP" altLang="en-US" noProof="0" dirty="0" smtClean="0"/>
              <a:t>アイコンをクリックして表を追加</a:t>
            </a:r>
            <a:endParaRPr lang="nl-NL" noProof="0"/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7092280" y="44624"/>
            <a:ext cx="20162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2400"/>
              </a:spcBef>
            </a:pPr>
            <a:r>
              <a:rPr kumimoji="1" lang="en-US" altLang="ja-JP" sz="1100" dirty="0" smtClean="0"/>
              <a:t>P13-0014</a:t>
            </a:r>
          </a:p>
          <a:p>
            <a:pPr algn="r">
              <a:spcBef>
                <a:spcPts val="0"/>
              </a:spcBef>
            </a:pPr>
            <a:r>
              <a:rPr kumimoji="1" lang="en-US" altLang="ja-JP" sz="1100" dirty="0" smtClean="0"/>
              <a:t>Project  Name: ING Link Technology Migration </a:t>
            </a:r>
          </a:p>
          <a:p>
            <a:pPr algn="r">
              <a:spcBef>
                <a:spcPts val="0"/>
              </a:spcBef>
            </a:pPr>
            <a:r>
              <a:rPr kumimoji="1" lang="en-US" altLang="ja-JP" sz="1100" dirty="0" smtClean="0"/>
              <a:t>Project Initiation Document</a:t>
            </a:r>
            <a:endParaRPr kumimoji="1" lang="ja-JP" altLang="en-US" sz="1100" dirty="0" smtClean="0"/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6228184" y="6551766"/>
            <a:ext cx="28803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2400"/>
              </a:spcBef>
            </a:pPr>
            <a:r>
              <a:rPr kumimoji="1" lang="en-US" altLang="ja-JP" sz="1100" dirty="0" smtClean="0">
                <a:solidFill>
                  <a:schemeClr val="bg1">
                    <a:lumMod val="50000"/>
                  </a:schemeClr>
                </a:solidFill>
              </a:rPr>
              <a:t>Template version PID 2014 - 1.0</a:t>
            </a:r>
            <a:endParaRPr kumimoji="1" lang="ja-JP" altLang="en-US" sz="11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454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55"/>
          <a:stretch>
            <a:fillRect/>
          </a:stretch>
        </p:blipFill>
        <p:spPr bwMode="auto">
          <a:xfrm>
            <a:off x="58738" y="5878513"/>
            <a:ext cx="1524000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ep 7"/>
          <p:cNvGrpSpPr>
            <a:grpSpLocks/>
          </p:cNvGrpSpPr>
          <p:nvPr/>
        </p:nvGrpSpPr>
        <p:grpSpPr bwMode="auto">
          <a:xfrm>
            <a:off x="-1712913" y="44450"/>
            <a:ext cx="2436813" cy="1889125"/>
            <a:chOff x="-2895229" y="393897"/>
            <a:chExt cx="2437439" cy="1888651"/>
          </a:xfrm>
        </p:grpSpPr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-2895229" y="766960"/>
              <a:ext cx="179387" cy="1793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-2895229" y="1461543"/>
              <a:ext cx="179387" cy="1793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kumimoji="0" lang="en-US" altLang="ja-JP" dirty="0"/>
            </a:p>
          </p:txBody>
        </p:sp>
        <p:sp>
          <p:nvSpPr>
            <p:cNvPr id="8" name="Text Box 28"/>
            <p:cNvSpPr txBox="1">
              <a:spLocks noChangeArrowheads="1"/>
            </p:cNvSpPr>
            <p:nvPr userDrawn="1"/>
          </p:nvSpPr>
          <p:spPr bwMode="auto">
            <a:xfrm>
              <a:off x="-2866647" y="393897"/>
              <a:ext cx="643103" cy="246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nl-NL" sz="1600" b="1" dirty="0" err="1">
                  <a:latin typeface="+mj-lt"/>
                  <a:ea typeface="ＭＳ Ｐゴシック" charset="0"/>
                </a:rPr>
                <a:t>Colours</a:t>
              </a:r>
              <a:endParaRPr kumimoji="0" lang="en-US" sz="1600" b="1" dirty="0">
                <a:latin typeface="+mj-lt"/>
                <a:ea typeface="ＭＳ Ｐゴシック" charset="0"/>
              </a:endParaRPr>
            </a:p>
          </p:txBody>
        </p:sp>
        <p:sp>
          <p:nvSpPr>
            <p:cNvPr id="9" name="Rectangle 29"/>
            <p:cNvSpPr>
              <a:spLocks noChangeArrowheads="1"/>
            </p:cNvSpPr>
            <p:nvPr userDrawn="1"/>
          </p:nvSpPr>
          <p:spPr bwMode="auto">
            <a:xfrm>
              <a:off x="-2617345" y="709731"/>
              <a:ext cx="2159555" cy="1572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90700" algn="l"/>
                </a:tabLs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nl-NL" altLang="nl-NL" sz="1400" b="1" dirty="0" err="1" smtClean="0">
                  <a:latin typeface="+mj-lt"/>
                </a:rPr>
                <a:t>Title</a:t>
              </a:r>
              <a:r>
                <a:rPr kumimoji="0" lang="nl-NL" altLang="nl-NL" sz="1400" dirty="0">
                  <a:latin typeface="+mj-lt"/>
                </a:rPr>
                <a:t>	</a:t>
              </a:r>
              <a:br>
                <a:rPr kumimoji="0" lang="nl-NL" altLang="nl-NL" sz="1400" dirty="0">
                  <a:latin typeface="+mj-lt"/>
                </a:rPr>
              </a:br>
              <a:r>
                <a:rPr kumimoji="0" lang="nl-NL" altLang="nl-NL" sz="1400" dirty="0" err="1" smtClean="0">
                  <a:latin typeface="+mj-lt"/>
                </a:rPr>
                <a:t>Calibri</a:t>
              </a:r>
              <a:r>
                <a:rPr kumimoji="0" lang="nl-NL" altLang="nl-NL" sz="1400" dirty="0" smtClean="0">
                  <a:latin typeface="+mj-lt"/>
                </a:rPr>
                <a:t> - 30 </a:t>
              </a:r>
              <a:r>
                <a:rPr kumimoji="0" lang="nl-NL" altLang="nl-NL" sz="1400" dirty="0" err="1">
                  <a:latin typeface="+mj-lt"/>
                </a:rPr>
                <a:t>bold</a:t>
              </a:r>
              <a:r>
                <a:rPr kumimoji="0" lang="nl-NL" altLang="nl-NL" sz="1400" dirty="0">
                  <a:latin typeface="+mj-lt"/>
                </a:rPr>
                <a:t>	</a:t>
              </a:r>
              <a:r>
                <a:rPr kumimoji="0" lang="nl-NL" altLang="nl-NL" sz="1400" dirty="0" smtClean="0">
                  <a:latin typeface="+mj-lt"/>
                </a:rPr>
                <a:t/>
              </a:r>
              <a:br>
                <a:rPr kumimoji="0" lang="nl-NL" altLang="nl-NL" sz="1400" dirty="0" smtClean="0">
                  <a:latin typeface="+mj-lt"/>
                </a:rPr>
              </a:br>
              <a:r>
                <a:rPr kumimoji="0" lang="nl-NL" altLang="nl-NL" sz="1400" dirty="0" smtClean="0">
                  <a:latin typeface="+mj-lt"/>
                </a:rPr>
                <a:t>238 </a:t>
              </a:r>
              <a:r>
                <a:rPr kumimoji="0" lang="nl-NL" altLang="nl-NL" sz="1400" dirty="0">
                  <a:latin typeface="+mj-lt"/>
                </a:rPr>
                <a:t>- 127 - 000</a:t>
              </a:r>
            </a:p>
            <a:p>
              <a:pPr eaLnBrk="1" fontAlgn="auto" hangingPunct="1">
                <a:spcBef>
                  <a:spcPts val="0"/>
                </a:spcBef>
                <a:spcAft>
                  <a:spcPct val="30000"/>
                </a:spcAft>
                <a:defRPr/>
              </a:pPr>
              <a:r>
                <a:rPr kumimoji="0" lang="en-US" altLang="nl-NL" sz="1400" b="1" dirty="0" smtClean="0">
                  <a:latin typeface="+mj-lt"/>
                </a:rPr>
                <a:t>Subtitle</a:t>
              </a:r>
              <a:r>
                <a:rPr kumimoji="0" lang="en-US" altLang="nl-NL" sz="1400" b="1" dirty="0">
                  <a:latin typeface="+mj-lt"/>
                </a:rPr>
                <a:t/>
              </a:r>
              <a:br>
                <a:rPr kumimoji="0" lang="en-US" altLang="nl-NL" sz="1400" b="1" dirty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Calibri - 26 </a:t>
              </a:r>
              <a:r>
                <a:rPr kumimoji="0" lang="en-US" altLang="nl-NL" sz="1400" dirty="0">
                  <a:latin typeface="+mj-lt"/>
                </a:rPr>
                <a:t>bold	</a:t>
              </a:r>
              <a:r>
                <a:rPr kumimoji="0" lang="en-US" altLang="nl-NL" sz="1400" dirty="0" smtClean="0">
                  <a:latin typeface="+mj-lt"/>
                </a:rPr>
                <a:t/>
              </a:r>
              <a:br>
                <a:rPr kumimoji="0" lang="en-US" altLang="nl-NL" sz="1400" dirty="0" smtClean="0">
                  <a:latin typeface="+mj-lt"/>
                </a:rPr>
              </a:br>
              <a:r>
                <a:rPr kumimoji="0" lang="en-US" altLang="nl-NL" sz="1400" dirty="0" smtClean="0">
                  <a:latin typeface="+mj-lt"/>
                </a:rPr>
                <a:t>234 </a:t>
              </a:r>
              <a:r>
                <a:rPr kumimoji="0" lang="en-US" altLang="nl-NL" sz="1400" dirty="0">
                  <a:latin typeface="+mj-lt"/>
                </a:rPr>
                <a:t>- 101 </a:t>
              </a:r>
              <a:r>
                <a:rPr kumimoji="0" lang="en-US" altLang="nl-NL" sz="1400" dirty="0" smtClean="0">
                  <a:latin typeface="+mj-lt"/>
                </a:rPr>
                <a:t>- 013</a:t>
              </a:r>
              <a:br>
                <a:rPr kumimoji="0" lang="en-US" altLang="nl-NL" sz="1400" dirty="0" smtClean="0">
                  <a:latin typeface="+mj-lt"/>
                </a:rPr>
              </a:br>
              <a:endParaRPr kumimoji="0" lang="en-US" altLang="nl-NL" sz="1400" dirty="0">
                <a:latin typeface="+mj-lt"/>
              </a:endParaRPr>
            </a:p>
          </p:txBody>
        </p:sp>
      </p:grpSp>
      <p:cxnSp>
        <p:nvCxnSpPr>
          <p:cNvPr id="10" name="Straight Connector 4"/>
          <p:cNvCxnSpPr/>
          <p:nvPr/>
        </p:nvCxnSpPr>
        <p:spPr>
          <a:xfrm>
            <a:off x="331788" y="5949950"/>
            <a:ext cx="8280400" cy="0"/>
          </a:xfrm>
          <a:prstGeom prst="line">
            <a:avLst/>
          </a:prstGeom>
          <a:ln w="12700">
            <a:solidFill>
              <a:srgbClr val="EA650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jdelijke aanduiding voor dianummer 5"/>
          <p:cNvSpPr txBox="1">
            <a:spLocks/>
          </p:cNvSpPr>
          <p:nvPr/>
        </p:nvSpPr>
        <p:spPr>
          <a:xfrm>
            <a:off x="3405188" y="6343649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fld id="{9CA503F9-FC1B-4B3D-B295-78E1A1BC4330}" type="slidenum">
              <a:rPr kumimoji="0" lang="nl-NL" altLang="ja-JP" sz="1200"/>
              <a:pPr algn="ctr"/>
              <a:t>‹#›</a:t>
            </a:fld>
            <a:endParaRPr kumimoji="0" lang="nl-NL" altLang="ja-JP" sz="1200" dirty="0"/>
          </a:p>
        </p:txBody>
      </p: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331200" y="245572"/>
            <a:ext cx="8280000" cy="396000"/>
          </a:xfrm>
        </p:spPr>
        <p:txBody>
          <a:bodyPr lIns="0" tIns="0" rIns="0" bIns="0" anchor="t">
            <a:noAutofit/>
          </a:bodyPr>
          <a:lstStyle>
            <a:lvl1pPr algn="l"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nl-NL" dirty="0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331200" y="721724"/>
            <a:ext cx="8280000" cy="39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600"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38219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938" y="962025"/>
            <a:ext cx="7094537" cy="4935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074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835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0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27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605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2977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45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008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9F2B94-D4D7-4DC3-8271-DA07EB131E6F}" type="datetimeFigureOut">
              <a:rPr lang="en-US" smtClean="0"/>
              <a:t>11/1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388A4F-5D73-4ABA-8B7A-54B32A8512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669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28069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ja-JP" smtClean="0"/>
              <a:t>Click to edit styles</a:t>
            </a:r>
          </a:p>
        </p:txBody>
      </p:sp>
      <p:sp>
        <p:nvSpPr>
          <p:cNvPr id="1027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ja-JP" smtClean="0"/>
              <a:t>Click to edit styles</a:t>
            </a:r>
          </a:p>
          <a:p>
            <a:pPr lvl="1"/>
            <a:r>
              <a:rPr lang="nl-NL" altLang="ja-JP" smtClean="0"/>
              <a:t>Second level</a:t>
            </a:r>
          </a:p>
          <a:p>
            <a:pPr lvl="2"/>
            <a:r>
              <a:rPr lang="nl-NL" altLang="ja-JP" smtClean="0"/>
              <a:t>Third level</a:t>
            </a:r>
          </a:p>
          <a:p>
            <a:pPr lvl="3"/>
            <a:r>
              <a:rPr lang="nl-NL" altLang="ja-JP" smtClean="0"/>
              <a:t>Fourth level</a:t>
            </a:r>
          </a:p>
          <a:p>
            <a:pPr lvl="4"/>
            <a:r>
              <a:rPr lang="nl-NL" altLang="ja-JP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  <p:sldLayoutId id="2147484044" r:id="rId10"/>
    <p:sldLayoutId id="2147484045" r:id="rId11"/>
    <p:sldLayoutId id="214748404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Font typeface="Arial" charset="0"/>
        <a:defRPr kumimoji="1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umimoji="1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1" fontAlgn="base" hangingPunct="1">
        <a:spcBef>
          <a:spcPct val="20000"/>
        </a:spcBef>
        <a:spcAft>
          <a:spcPct val="0"/>
        </a:spcAft>
        <a:buFont typeface="Calibri" pitchFamily="34" charset="0"/>
        <a:buChar char="-"/>
        <a:defRPr kumimoji="1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9388" algn="l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kumimoji="1" kern="1200">
          <a:solidFill>
            <a:schemeClr val="tx1"/>
          </a:solidFill>
          <a:latin typeface="+mn-lt"/>
          <a:ea typeface="+mn-ea"/>
          <a:cs typeface="+mn-cs"/>
        </a:defRPr>
      </a:lvl4pPr>
      <a:lvl5pPr marL="725488" indent="-179388" algn="l" rtl="0" eaLnBrk="1" fontAlgn="base" hangingPunct="1">
        <a:spcBef>
          <a:spcPct val="20000"/>
        </a:spcBef>
        <a:spcAft>
          <a:spcPct val="0"/>
        </a:spcAft>
        <a:buFont typeface="Calibri" pitchFamily="34" charset="0"/>
        <a:buChar char="&gt;"/>
        <a:defRPr kumimoji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schools.com/html/tryit.asp?filename=tryhtml_styles_background-color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hyperlink" Target="https://jsbin.com/" TargetMode="External"/><Relationship Id="rId4" Type="http://schemas.openxmlformats.org/officeDocument/2006/relationships/image" Target="../media/image11.w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jsbin.com/" TargetMode="Externa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developer.salesforce.com/docs/atlas.ja-jp.pages.meta/pages/pages_compref_page.htm" TargetMode="Externa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trailhead.salesforce.com/ja/content/learn/modules/lex_dev_lc_basics/lex_dev_lc_basics_intro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cssdeck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developer.salesforce.com/docs/atlas.ja-jp.216.0.pages.meta/pages/pages_intro_when_use_pages.htm" TargetMode="External"/><Relationship Id="rId5" Type="http://schemas.openxmlformats.org/officeDocument/2006/relationships/hyperlink" Target="https://github.com/Microsoft/TypeScript-Handbook" TargetMode="External"/><Relationship Id="rId4" Type="http://schemas.openxmlformats.org/officeDocument/2006/relationships/hyperlink" Target="https://www.w3schools.com/js/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www.nnlife.co.jp/strengths" TargetMode="Externa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www.nnlife.co.jp/strengths" TargetMode="Externa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2.vml"/><Relationship Id="rId6" Type="http://schemas.openxmlformats.org/officeDocument/2006/relationships/hyperlink" Target="https://www.w3schools.com/html/html_editors.asp" TargetMode="External"/><Relationship Id="rId5" Type="http://schemas.openxmlformats.org/officeDocument/2006/relationships/image" Target="../media/image7.w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codecademy.com/learn/web" TargetMode="Externa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HTML/CSS/JavaScript</a:t>
            </a:r>
            <a:endParaRPr kumimoji="1"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ja-JP" b="0" dirty="0"/>
              <a:t>Before any web related </a:t>
            </a:r>
            <a:r>
              <a:rPr lang="en-US" altLang="ja-JP" b="0" dirty="0" smtClean="0"/>
              <a:t>programming</a:t>
            </a:r>
          </a:p>
          <a:p>
            <a:pPr marL="0" indent="0">
              <a:buNone/>
            </a:pPr>
            <a:endParaRPr lang="en-US" altLang="ja-JP" b="0" dirty="0" smtClean="0"/>
          </a:p>
          <a:p>
            <a:r>
              <a:rPr lang="en-US" altLang="ja-JP" dirty="0" smtClean="0"/>
              <a:t>Web</a:t>
            </a:r>
            <a:r>
              <a:rPr lang="ja-JP" altLang="en-US" dirty="0" smtClean="0"/>
              <a:t>サイト</a:t>
            </a:r>
            <a:endParaRPr lang="en-US" altLang="ja-JP" dirty="0" smtClean="0"/>
          </a:p>
          <a:p>
            <a:pPr marL="0" indent="0">
              <a:buNone/>
            </a:pPr>
            <a:endParaRPr lang="en-US" altLang="ja-JP" dirty="0" smtClean="0"/>
          </a:p>
          <a:p>
            <a:r>
              <a:rPr lang="en-US" altLang="ja-JP" dirty="0" smtClean="0"/>
              <a:t>HTML</a:t>
            </a:r>
            <a:endParaRPr kumimoji="1" lang="en-US" altLang="ja-JP" dirty="0" smtClean="0"/>
          </a:p>
          <a:p>
            <a:endParaRPr lang="en-US" altLang="ja-JP" dirty="0"/>
          </a:p>
          <a:p>
            <a:r>
              <a:rPr kumimoji="1" lang="en-US" altLang="ja-JP" dirty="0" smtClean="0"/>
              <a:t>CSS</a:t>
            </a:r>
            <a:endParaRPr lang="en-US" altLang="ja-JP" dirty="0" smtClean="0"/>
          </a:p>
          <a:p>
            <a:endParaRPr lang="en-US" altLang="ja-JP" dirty="0"/>
          </a:p>
          <a:p>
            <a:r>
              <a:rPr lang="en-US" altLang="ja-JP" dirty="0" smtClean="0"/>
              <a:t>JavaScript</a:t>
            </a:r>
          </a:p>
          <a:p>
            <a:endParaRPr lang="en-US" altLang="ja-JP" dirty="0"/>
          </a:p>
          <a:p>
            <a:r>
              <a:rPr lang="en-US" altLang="ja-JP" dirty="0" smtClean="0"/>
              <a:t>Salesfoce.com platform : Apex, Visualforce, …</a:t>
            </a:r>
            <a:endParaRPr lang="en-US" altLang="ja-JP" dirty="0" smtClean="0"/>
          </a:p>
          <a:p>
            <a:endParaRPr lang="en-US" altLang="ja-JP" dirty="0"/>
          </a:p>
        </p:txBody>
      </p:sp>
      <p:sp>
        <p:nvSpPr>
          <p:cNvPr id="9" name="正方形/長方形 8"/>
          <p:cNvSpPr/>
          <p:nvPr/>
        </p:nvSpPr>
        <p:spPr>
          <a:xfrm>
            <a:off x="6605314" y="4941168"/>
            <a:ext cx="22322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endParaRPr lang="en-US" altLang="ja-JP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r"/>
            <a:r>
              <a:rPr lang="en-US" altLang="ja-JP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2018/11/12</a:t>
            </a:r>
            <a:endParaRPr lang="en-US" altLang="ja-JP" dirty="0" smtClean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algn="r"/>
            <a:r>
              <a:rPr lang="en-US" altLang="ja-JP" dirty="0" smtClean="0">
                <a:solidFill>
                  <a:schemeClr val="accent2"/>
                </a:solidFill>
                <a:ea typeface="Meiryo UI" panose="020B0604030504040204" pitchFamily="50" charset="-128"/>
                <a:cs typeface="Meiryo UI" panose="020B0604030504040204" pitchFamily="50" charset="-128"/>
              </a:rPr>
              <a:t>Solution Delivery Div.</a:t>
            </a:r>
            <a:endParaRPr lang="en-US" altLang="ja-JP" dirty="0">
              <a:solidFill>
                <a:schemeClr val="accent2"/>
              </a:solidFill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49805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CSS</a:t>
            </a:r>
            <a:endParaRPr kumimoji="1" lang="ja-JP" altLang="en-US" dirty="0"/>
          </a:p>
        </p:txBody>
      </p:sp>
      <p:sp>
        <p:nvSpPr>
          <p:cNvPr id="16" name="サブタイトル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ja-JP" altLang="en-US" dirty="0" smtClean="0"/>
              <a:t>はじめに</a:t>
            </a:r>
            <a:endParaRPr kumimoji="1" lang="ja-JP" altLang="en-US" dirty="0"/>
          </a:p>
        </p:txBody>
      </p:sp>
      <p:sp>
        <p:nvSpPr>
          <p:cNvPr id="17" name="テキスト プレースホルダー 16"/>
          <p:cNvSpPr>
            <a:spLocks noGrp="1"/>
          </p:cNvSpPr>
          <p:nvPr>
            <p:ph type="body" sz="quarter" idx="14"/>
          </p:nvPr>
        </p:nvSpPr>
        <p:spPr>
          <a:xfrm>
            <a:off x="331200" y="1340768"/>
            <a:ext cx="4240800" cy="2089973"/>
          </a:xfr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en-US" altLang="ja-JP" sz="1600" b="0" dirty="0"/>
              <a:t>&lt;!DOCTYPE html&gt;</a:t>
            </a:r>
          </a:p>
          <a:p>
            <a:r>
              <a:rPr lang="en-US" altLang="ja-JP" sz="1600" b="0" dirty="0"/>
              <a:t>&lt;html&gt;</a:t>
            </a:r>
          </a:p>
          <a:p>
            <a:r>
              <a:rPr lang="en-US" altLang="ja-JP" sz="1600" b="0" dirty="0"/>
              <a:t>&lt;body </a:t>
            </a:r>
            <a:r>
              <a:rPr lang="en-US" altLang="ja-JP" sz="1600" b="0" dirty="0">
                <a:solidFill>
                  <a:srgbClr val="FF0000"/>
                </a:solidFill>
              </a:rPr>
              <a:t>style</a:t>
            </a:r>
            <a:r>
              <a:rPr lang="en-US" altLang="ja-JP" sz="1600" b="0" dirty="0"/>
              <a:t>="</a:t>
            </a:r>
            <a:r>
              <a:rPr lang="en-US" altLang="ja-JP" sz="1600" b="0" dirty="0" err="1">
                <a:solidFill>
                  <a:srgbClr val="002060"/>
                </a:solidFill>
              </a:rPr>
              <a:t>background-color:powderblue</a:t>
            </a:r>
            <a:r>
              <a:rPr lang="en-US" altLang="ja-JP" sz="1600" b="0" dirty="0">
                <a:solidFill>
                  <a:srgbClr val="002060"/>
                </a:solidFill>
              </a:rPr>
              <a:t>;</a:t>
            </a:r>
            <a:r>
              <a:rPr lang="en-US" altLang="ja-JP" sz="1600" b="0" dirty="0"/>
              <a:t>"&gt;</a:t>
            </a:r>
          </a:p>
          <a:p>
            <a:r>
              <a:rPr lang="en-US" altLang="ja-JP" sz="1600" b="0" dirty="0" smtClean="0"/>
              <a:t>  &lt;</a:t>
            </a:r>
            <a:r>
              <a:rPr lang="en-US" altLang="ja-JP" sz="1600" b="0" dirty="0"/>
              <a:t>h1&gt;This is a heading&lt;/h1&gt;</a:t>
            </a:r>
          </a:p>
          <a:p>
            <a:r>
              <a:rPr lang="en-US" altLang="ja-JP" sz="1600" b="0" dirty="0" smtClean="0"/>
              <a:t>  &lt;</a:t>
            </a:r>
            <a:r>
              <a:rPr lang="en-US" altLang="ja-JP" sz="1600" b="0" dirty="0"/>
              <a:t>p&gt;This is a paragraph.&lt;/p&gt;</a:t>
            </a:r>
          </a:p>
          <a:p>
            <a:r>
              <a:rPr lang="en-US" altLang="ja-JP" sz="1600" b="0" dirty="0" smtClean="0"/>
              <a:t>&lt;/</a:t>
            </a:r>
            <a:r>
              <a:rPr lang="en-US" altLang="ja-JP" sz="1600" b="0" dirty="0"/>
              <a:t>body&gt;</a:t>
            </a:r>
          </a:p>
          <a:p>
            <a:r>
              <a:rPr lang="en-US" altLang="ja-JP" sz="1600" b="0" dirty="0"/>
              <a:t>&lt;/html&gt;</a:t>
            </a:r>
            <a:endParaRPr kumimoji="1" lang="ja-JP" altLang="en-US" sz="1600" b="0" dirty="0"/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4048" y="1336722"/>
            <a:ext cx="3371850" cy="1609725"/>
          </a:xfrm>
          <a:prstGeom prst="rect">
            <a:avLst/>
          </a:prstGeom>
        </p:spPr>
      </p:pic>
      <p:sp>
        <p:nvSpPr>
          <p:cNvPr id="3" name="正方形/長方形 2"/>
          <p:cNvSpPr/>
          <p:nvPr/>
        </p:nvSpPr>
        <p:spPr>
          <a:xfrm>
            <a:off x="4693754" y="3430741"/>
            <a:ext cx="44279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dirty="0">
                <a:latin typeface="+mn-lt"/>
                <a:hlinkClick r:id="rId3"/>
              </a:rPr>
              <a:t>https://www.w3schools.com/html/tryit.asp?filename=</a:t>
            </a:r>
            <a:r>
              <a:rPr lang="ja-JP" altLang="en-US" dirty="0" err="1">
                <a:latin typeface="+mn-lt"/>
                <a:hlinkClick r:id="rId3"/>
              </a:rPr>
              <a:t>t</a:t>
            </a:r>
            <a:r>
              <a:rPr lang="ja-JP" altLang="en-US" dirty="0">
                <a:latin typeface="+mn-lt"/>
                <a:hlinkClick r:id="rId3"/>
              </a:rPr>
              <a:t>ryhtml_styles_background-</a:t>
            </a:r>
            <a:r>
              <a:rPr lang="ja-JP" altLang="en-US" dirty="0" smtClean="0">
                <a:latin typeface="+mn-lt"/>
                <a:hlinkClick r:id="rId3"/>
              </a:rPr>
              <a:t>color</a:t>
            </a:r>
            <a:endParaRPr lang="ja-JP" altLang="en-US" dirty="0">
              <a:latin typeface="+mn-lt"/>
            </a:endParaRPr>
          </a:p>
        </p:txBody>
      </p:sp>
      <p:sp>
        <p:nvSpPr>
          <p:cNvPr id="8" name="テキスト プレースホルダー 16"/>
          <p:cNvSpPr txBox="1">
            <a:spLocks/>
          </p:cNvSpPr>
          <p:nvPr/>
        </p:nvSpPr>
        <p:spPr bwMode="auto">
          <a:xfrm>
            <a:off x="331200" y="3653785"/>
            <a:ext cx="4240800" cy="2358802"/>
          </a:xfrm>
          <a:prstGeom prst="rect">
            <a:avLst/>
          </a:prstGeom>
          <a:ln w="12700" cap="flat" cmpd="sng" algn="ctr">
            <a:solidFill>
              <a:schemeClr val="dk1"/>
            </a:solidFill>
            <a:prstDash val="soli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kumimoji="1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-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349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itchFamily="49" charset="0"/>
              <a:buChar char="o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254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&gt;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b="0" dirty="0"/>
              <a:t> &lt;head&gt;</a:t>
            </a:r>
          </a:p>
          <a:p>
            <a:r>
              <a:rPr lang="en-US" altLang="ja-JP" sz="1600" b="0" dirty="0"/>
              <a:t>    &lt;style type="text/</a:t>
            </a:r>
            <a:r>
              <a:rPr lang="en-US" altLang="ja-JP" sz="1600" b="0" dirty="0" err="1"/>
              <a:t>css</a:t>
            </a:r>
            <a:r>
              <a:rPr lang="en-US" altLang="ja-JP" sz="1600" b="0" dirty="0"/>
              <a:t>"&gt;</a:t>
            </a:r>
          </a:p>
          <a:p>
            <a:r>
              <a:rPr lang="en-US" altLang="ja-JP" sz="1600" b="0" dirty="0"/>
              <a:t>      p {</a:t>
            </a:r>
          </a:p>
          <a:p>
            <a:r>
              <a:rPr lang="en-US" altLang="ja-JP" sz="1600" b="0" dirty="0"/>
              <a:t>        color: </a:t>
            </a:r>
            <a:r>
              <a:rPr lang="en-US" altLang="ja-JP" sz="1600" b="0" dirty="0" smtClean="0"/>
              <a:t>white;</a:t>
            </a:r>
            <a:endParaRPr lang="en-US" altLang="ja-JP" sz="1600" b="0" dirty="0"/>
          </a:p>
          <a:p>
            <a:r>
              <a:rPr lang="en-US" altLang="ja-JP" sz="1600" b="0" dirty="0"/>
              <a:t>        background-color: black;</a:t>
            </a:r>
          </a:p>
          <a:p>
            <a:r>
              <a:rPr lang="en-US" altLang="ja-JP" sz="1600" b="0" dirty="0"/>
              <a:t>      }</a:t>
            </a:r>
          </a:p>
          <a:p>
            <a:r>
              <a:rPr lang="en-US" altLang="ja-JP" sz="1600" b="0" dirty="0"/>
              <a:t>    &lt;/style&gt;</a:t>
            </a:r>
          </a:p>
          <a:p>
            <a:r>
              <a:rPr lang="en-US" altLang="ja-JP" sz="1600" b="0" dirty="0"/>
              <a:t>  &lt;/head&gt;</a:t>
            </a:r>
            <a:endParaRPr lang="ja-JP" altLang="en-US" sz="1600" b="0" dirty="0"/>
          </a:p>
        </p:txBody>
      </p:sp>
      <p:sp>
        <p:nvSpPr>
          <p:cNvPr id="4" name="正方形/長方形 3"/>
          <p:cNvSpPr/>
          <p:nvPr/>
        </p:nvSpPr>
        <p:spPr>
          <a:xfrm>
            <a:off x="4784928" y="5074798"/>
            <a:ext cx="41075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dirty="0" smtClean="0"/>
              <a:t>*HTML</a:t>
            </a:r>
            <a:r>
              <a:rPr lang="ja-JP" altLang="en-US" dirty="0" smtClean="0"/>
              <a:t>ファイル内に記述することはまれ</a:t>
            </a:r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3388824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CSS</a:t>
            </a:r>
            <a:endParaRPr kumimoji="1" lang="ja-JP" altLang="en-US" dirty="0"/>
          </a:p>
        </p:txBody>
      </p:sp>
      <p:sp>
        <p:nvSpPr>
          <p:cNvPr id="16" name="サブタイトル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ja-JP" dirty="0" smtClean="0"/>
              <a:t>Hands-on</a:t>
            </a:r>
            <a:endParaRPr kumimoji="1" lang="ja-JP" altLang="en-US" dirty="0"/>
          </a:p>
        </p:txBody>
      </p:sp>
      <p:sp>
        <p:nvSpPr>
          <p:cNvPr id="17" name="テキスト プレースホルダー 16"/>
          <p:cNvSpPr>
            <a:spLocks noGrp="1"/>
          </p:cNvSpPr>
          <p:nvPr>
            <p:ph type="body" sz="quarter" idx="14"/>
          </p:nvPr>
        </p:nvSpPr>
        <p:spPr>
          <a:xfrm>
            <a:off x="331200" y="1340768"/>
            <a:ext cx="4888872" cy="3456384"/>
          </a:xfr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en-US" altLang="ja-JP" sz="1600" b="0" dirty="0"/>
              <a:t>body {</a:t>
            </a:r>
          </a:p>
          <a:p>
            <a:r>
              <a:rPr lang="en-US" altLang="ja-JP" sz="1600" b="0" dirty="0"/>
              <a:t>  </a:t>
            </a:r>
            <a:r>
              <a:rPr lang="en-US" altLang="ja-JP" sz="1600" b="0" dirty="0" err="1"/>
              <a:t>background-color:lightblue</a:t>
            </a:r>
            <a:r>
              <a:rPr lang="en-US" altLang="ja-JP" sz="1600" b="0" dirty="0"/>
              <a:t>;</a:t>
            </a:r>
          </a:p>
          <a:p>
            <a:r>
              <a:rPr lang="en-US" altLang="ja-JP" sz="1600" b="0" dirty="0"/>
              <a:t>}</a:t>
            </a:r>
          </a:p>
          <a:p>
            <a:r>
              <a:rPr lang="en-US" altLang="ja-JP" sz="1600" b="0" dirty="0"/>
              <a:t>h1 {</a:t>
            </a:r>
          </a:p>
          <a:p>
            <a:r>
              <a:rPr lang="en-US" altLang="ja-JP" sz="1600" b="0" dirty="0"/>
              <a:t>  color: white;</a:t>
            </a:r>
          </a:p>
          <a:p>
            <a:r>
              <a:rPr lang="en-US" altLang="ja-JP" sz="1600" b="0" dirty="0"/>
              <a:t>  text-align: center;</a:t>
            </a:r>
          </a:p>
          <a:p>
            <a:r>
              <a:rPr lang="en-US" altLang="ja-JP" sz="1600" b="0" dirty="0"/>
              <a:t>}</a:t>
            </a:r>
          </a:p>
          <a:p>
            <a:r>
              <a:rPr lang="en-US" altLang="ja-JP" sz="1600" b="0" dirty="0"/>
              <a:t>p {</a:t>
            </a:r>
          </a:p>
          <a:p>
            <a:r>
              <a:rPr lang="en-US" altLang="ja-JP" sz="1600" b="0" dirty="0"/>
              <a:t>  font-family: </a:t>
            </a:r>
            <a:r>
              <a:rPr lang="en-US" altLang="ja-JP" sz="1600" b="0" dirty="0" err="1"/>
              <a:t>verdana</a:t>
            </a:r>
            <a:r>
              <a:rPr lang="en-US" altLang="ja-JP" sz="1600" b="0" dirty="0"/>
              <a:t>;</a:t>
            </a:r>
          </a:p>
          <a:p>
            <a:r>
              <a:rPr lang="en-US" altLang="ja-JP" sz="1600" b="0" dirty="0"/>
              <a:t>  font-size: 20px;</a:t>
            </a:r>
          </a:p>
          <a:p>
            <a:r>
              <a:rPr lang="en-US" altLang="ja-JP" sz="1600" b="0" dirty="0"/>
              <a:t>}</a:t>
            </a:r>
            <a:endParaRPr kumimoji="1" lang="ja-JP" altLang="en-US" sz="1600" b="0" dirty="0"/>
          </a:p>
        </p:txBody>
      </p:sp>
      <p:sp>
        <p:nvSpPr>
          <p:cNvPr id="8" name="テキスト プレースホルダー 16"/>
          <p:cNvSpPr txBox="1">
            <a:spLocks/>
          </p:cNvSpPr>
          <p:nvPr/>
        </p:nvSpPr>
        <p:spPr bwMode="auto">
          <a:xfrm>
            <a:off x="331200" y="4941168"/>
            <a:ext cx="4888872" cy="868358"/>
          </a:xfrm>
          <a:prstGeom prst="rect">
            <a:avLst/>
          </a:prstGeom>
          <a:ln w="12700" cap="flat" cmpd="sng" algn="ctr">
            <a:solidFill>
              <a:schemeClr val="dk1"/>
            </a:solidFill>
            <a:prstDash val="soli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kumimoji="1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-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349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itchFamily="49" charset="0"/>
              <a:buChar char="o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254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&gt;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b="0" dirty="0" smtClean="0"/>
              <a:t>&lt;</a:t>
            </a:r>
            <a:r>
              <a:rPr lang="en-US" altLang="ja-JP" sz="1600" b="0" dirty="0"/>
              <a:t>head&gt;</a:t>
            </a:r>
          </a:p>
          <a:p>
            <a:r>
              <a:rPr lang="ja-JP" altLang="en-US" sz="1600" b="0" dirty="0" smtClean="0"/>
              <a:t>  </a:t>
            </a:r>
            <a:r>
              <a:rPr lang="en-US" altLang="ja-JP" sz="1600" b="0" dirty="0" smtClean="0"/>
              <a:t>&lt;</a:t>
            </a:r>
            <a:r>
              <a:rPr lang="en-US" altLang="ja-JP" sz="1600" b="0" dirty="0"/>
              <a:t>link </a:t>
            </a:r>
            <a:r>
              <a:rPr lang="en-US" altLang="ja-JP" sz="1600" b="0" dirty="0" err="1"/>
              <a:t>rel</a:t>
            </a:r>
            <a:r>
              <a:rPr lang="en-US" altLang="ja-JP" sz="1600" b="0" dirty="0"/>
              <a:t>="stylesheet" type="text/</a:t>
            </a:r>
            <a:r>
              <a:rPr lang="en-US" altLang="ja-JP" sz="1600" b="0" dirty="0" err="1"/>
              <a:t>css</a:t>
            </a:r>
            <a:r>
              <a:rPr lang="en-US" altLang="ja-JP" sz="1600" b="0" dirty="0"/>
              <a:t>" </a:t>
            </a:r>
            <a:r>
              <a:rPr lang="en-US" altLang="ja-JP" sz="1600" b="0" dirty="0" err="1"/>
              <a:t>href</a:t>
            </a:r>
            <a:r>
              <a:rPr lang="en-US" altLang="ja-JP" sz="1600" b="0" dirty="0"/>
              <a:t>="style.css"&gt;</a:t>
            </a:r>
          </a:p>
          <a:p>
            <a:r>
              <a:rPr lang="en-US" altLang="ja-JP" sz="1600" b="0" dirty="0" smtClean="0"/>
              <a:t>&lt;/</a:t>
            </a:r>
            <a:r>
              <a:rPr lang="en-US" altLang="ja-JP" sz="1600" b="0" dirty="0"/>
              <a:t>head&gt;</a:t>
            </a:r>
            <a:endParaRPr lang="ja-JP" altLang="en-US" sz="1600" b="0" dirty="0"/>
          </a:p>
        </p:txBody>
      </p:sp>
      <p:graphicFrame>
        <p:nvGraphicFramePr>
          <p:cNvPr id="3" name="オブジェクト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2793168"/>
              </p:ext>
            </p:extLst>
          </p:nvPr>
        </p:nvGraphicFramePr>
        <p:xfrm>
          <a:off x="4500557" y="4228052"/>
          <a:ext cx="648072" cy="6399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8" name="パッケージャー シェル オブジェクト" showAsIcon="1" r:id="rId3" imgW="507240" imgH="502200" progId="Package">
                  <p:embed/>
                </p:oleObj>
              </mc:Choice>
              <mc:Fallback>
                <p:oleObj name="パッケージャー シェル オブジェクト" showAsIcon="1" r:id="rId3" imgW="507240" imgH="5022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500557" y="4228052"/>
                        <a:ext cx="648072" cy="6399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/>
          <p:cNvSpPr/>
          <p:nvPr/>
        </p:nvSpPr>
        <p:spPr>
          <a:xfrm>
            <a:off x="5487157" y="4089295"/>
            <a:ext cx="22370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dirty="0" smtClean="0"/>
              <a:t>JS Bin - Online editor</a:t>
            </a:r>
          </a:p>
          <a:p>
            <a:r>
              <a:rPr lang="ja-JP" altLang="en-US" dirty="0" smtClean="0">
                <a:hlinkClick r:id="rId5"/>
              </a:rPr>
              <a:t>https</a:t>
            </a:r>
            <a:r>
              <a:rPr lang="ja-JP" altLang="en-US" dirty="0">
                <a:hlinkClick r:id="rId5"/>
              </a:rPr>
              <a:t>://jsbin.com</a:t>
            </a:r>
            <a:r>
              <a:rPr lang="ja-JP" altLang="en-US" dirty="0" smtClean="0">
                <a:hlinkClick r:id="rId5"/>
              </a:rPr>
              <a:t>/</a:t>
            </a:r>
            <a:endParaRPr lang="ja-JP" altLang="en-US" dirty="0"/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08104" y="1340768"/>
            <a:ext cx="3295650" cy="2371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660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ja-JP" sz="4400" dirty="0" smtClean="0"/>
              <a:t>JavaScript</a:t>
            </a:r>
            <a:endParaRPr kumimoji="1" lang="ja-JP" altLang="en-US" sz="4400" dirty="0"/>
          </a:p>
        </p:txBody>
      </p:sp>
    </p:spTree>
    <p:extLst>
      <p:ext uri="{BB962C8B-B14F-4D97-AF65-F5344CB8AC3E}">
        <p14:creationId xmlns:p14="http://schemas.microsoft.com/office/powerpoint/2010/main" val="18645762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JavaScript</a:t>
            </a:r>
            <a:endParaRPr kumimoji="1" lang="ja-JP" altLang="en-US" dirty="0"/>
          </a:p>
        </p:txBody>
      </p:sp>
      <p:sp>
        <p:nvSpPr>
          <p:cNvPr id="16" name="サブタイトル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ja-JP" dirty="0" smtClean="0"/>
              <a:t>Hands-on</a:t>
            </a:r>
            <a:endParaRPr kumimoji="1" lang="ja-JP" altLang="en-US" dirty="0"/>
          </a:p>
        </p:txBody>
      </p:sp>
      <p:sp>
        <p:nvSpPr>
          <p:cNvPr id="17" name="テキスト プレースホルダー 16"/>
          <p:cNvSpPr>
            <a:spLocks noGrp="1"/>
          </p:cNvSpPr>
          <p:nvPr>
            <p:ph type="body" sz="quarter" idx="14"/>
          </p:nvPr>
        </p:nvSpPr>
        <p:spPr>
          <a:xfrm>
            <a:off x="331200" y="1340768"/>
            <a:ext cx="5032888" cy="2232248"/>
          </a:xfr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en-US" altLang="ja-JP" sz="1600" b="0" dirty="0"/>
              <a:t>&lt;html&gt;</a:t>
            </a:r>
          </a:p>
          <a:p>
            <a:r>
              <a:rPr lang="en-US" altLang="ja-JP" sz="1600" b="0" dirty="0"/>
              <a:t>  &lt;head&gt;</a:t>
            </a:r>
          </a:p>
          <a:p>
            <a:r>
              <a:rPr lang="en-US" altLang="ja-JP" sz="1600" b="0" dirty="0"/>
              <a:t>    &lt;script type="text/</a:t>
            </a:r>
            <a:r>
              <a:rPr lang="en-US" altLang="ja-JP" sz="1600" b="0" dirty="0" err="1"/>
              <a:t>javascript</a:t>
            </a:r>
            <a:r>
              <a:rPr lang="en-US" altLang="ja-JP" sz="1600" b="0" dirty="0"/>
              <a:t>" </a:t>
            </a:r>
            <a:r>
              <a:rPr lang="en-US" altLang="ja-JP" sz="1600" b="0" dirty="0" err="1"/>
              <a:t>src</a:t>
            </a:r>
            <a:r>
              <a:rPr lang="en-US" altLang="ja-JP" sz="1600" b="0" dirty="0"/>
              <a:t>=“sample.js"&gt;&lt;/script&gt;</a:t>
            </a:r>
          </a:p>
          <a:p>
            <a:r>
              <a:rPr lang="en-US" altLang="ja-JP" sz="1600" b="0" dirty="0"/>
              <a:t>  &lt;/head&gt;</a:t>
            </a:r>
          </a:p>
          <a:p>
            <a:r>
              <a:rPr lang="en-US" altLang="ja-JP" sz="1600" b="0" dirty="0"/>
              <a:t>  &lt;body&gt;</a:t>
            </a:r>
          </a:p>
          <a:p>
            <a:r>
              <a:rPr lang="en-US" altLang="ja-JP" sz="1600" b="0" dirty="0"/>
              <a:t>  &lt;/body&gt;</a:t>
            </a:r>
          </a:p>
          <a:p>
            <a:r>
              <a:rPr lang="en-US" altLang="ja-JP" sz="1600" b="0" dirty="0"/>
              <a:t>&lt;/html&gt;</a:t>
            </a:r>
            <a:endParaRPr kumimoji="1" lang="ja-JP" altLang="en-US" sz="1600" b="0" dirty="0"/>
          </a:p>
        </p:txBody>
      </p:sp>
      <p:sp>
        <p:nvSpPr>
          <p:cNvPr id="7" name="テキスト プレースホルダー 16"/>
          <p:cNvSpPr txBox="1">
            <a:spLocks/>
          </p:cNvSpPr>
          <p:nvPr/>
        </p:nvSpPr>
        <p:spPr bwMode="auto">
          <a:xfrm>
            <a:off x="331200" y="3717032"/>
            <a:ext cx="5032888" cy="2232248"/>
          </a:xfrm>
          <a:prstGeom prst="rect">
            <a:avLst/>
          </a:prstGeom>
          <a:ln w="12700" cap="flat" cmpd="sng" algn="ctr">
            <a:solidFill>
              <a:schemeClr val="dk1"/>
            </a:solidFill>
            <a:prstDash val="soli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kumimoji="1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-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5349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itchFamily="49" charset="0"/>
              <a:buChar char="o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7254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&gt;"/>
              <a:defRPr kumimoji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b="0" dirty="0"/>
              <a:t>alert("Hello");</a:t>
            </a:r>
            <a:endParaRPr lang="ja-JP" altLang="en-US" sz="1600" b="0" dirty="0"/>
          </a:p>
        </p:txBody>
      </p:sp>
      <p:sp>
        <p:nvSpPr>
          <p:cNvPr id="4" name="正方形/長方形 3"/>
          <p:cNvSpPr/>
          <p:nvPr/>
        </p:nvSpPr>
        <p:spPr>
          <a:xfrm>
            <a:off x="6156176" y="1334869"/>
            <a:ext cx="21366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dirty="0" smtClean="0"/>
              <a:t>-&gt; </a:t>
            </a:r>
            <a:r>
              <a:rPr lang="ja-JP" altLang="en-US" dirty="0" smtClean="0">
                <a:hlinkClick r:id="rId2"/>
              </a:rPr>
              <a:t>https</a:t>
            </a:r>
            <a:r>
              <a:rPr lang="ja-JP" altLang="en-US" dirty="0">
                <a:hlinkClick r:id="rId2"/>
              </a:rPr>
              <a:t>://jsbin.com</a:t>
            </a:r>
            <a:r>
              <a:rPr lang="ja-JP" altLang="en-US" dirty="0" smtClean="0">
                <a:hlinkClick r:id="rId2"/>
              </a:rPr>
              <a:t>/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1405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ja-JP" sz="4400" dirty="0"/>
              <a:t>Salesfoce.com platform </a:t>
            </a:r>
            <a:r>
              <a:rPr lang="en-US" altLang="ja-JP" sz="4400" dirty="0" smtClean="0"/>
              <a:t>:</a:t>
            </a:r>
          </a:p>
          <a:p>
            <a:r>
              <a:rPr lang="en-US" altLang="ja-JP" sz="4400" dirty="0" smtClean="0"/>
              <a:t> (next) Apex</a:t>
            </a:r>
            <a:r>
              <a:rPr lang="en-US" altLang="ja-JP" sz="4400" dirty="0"/>
              <a:t>, Visualforce, …</a:t>
            </a:r>
            <a:endParaRPr kumimoji="1" lang="ja-JP" altLang="en-US" sz="4400" dirty="0"/>
          </a:p>
        </p:txBody>
      </p:sp>
    </p:spTree>
    <p:extLst>
      <p:ext uri="{BB962C8B-B14F-4D97-AF65-F5344CB8AC3E}">
        <p14:creationId xmlns:p14="http://schemas.microsoft.com/office/powerpoint/2010/main" val="20081170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Apex, Visualforce	</a:t>
            </a:r>
            <a:endParaRPr kumimoji="1" lang="ja-JP" altLang="en-US" dirty="0"/>
          </a:p>
        </p:txBody>
      </p:sp>
      <p:sp>
        <p:nvSpPr>
          <p:cNvPr id="16" name="サブタイトル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ja-JP" dirty="0" smtClean="0"/>
              <a:t>Salesforce platform</a:t>
            </a:r>
            <a:endParaRPr kumimoji="1" lang="ja-JP" altLang="en-US" dirty="0"/>
          </a:p>
        </p:txBody>
      </p:sp>
      <p:sp>
        <p:nvSpPr>
          <p:cNvPr id="4" name="正方形/長方形 3"/>
          <p:cNvSpPr/>
          <p:nvPr/>
        </p:nvSpPr>
        <p:spPr>
          <a:xfrm>
            <a:off x="331200" y="1943936"/>
            <a:ext cx="46064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dirty="0">
                <a:hlinkClick r:id="rId2"/>
              </a:rPr>
              <a:t>https://</a:t>
            </a:r>
            <a:r>
              <a:rPr lang="en-US" altLang="ja-JP" dirty="0" smtClean="0">
                <a:hlinkClick r:id="rId2"/>
              </a:rPr>
              <a:t>developer.salesforce.com/docs/atlas.ja-jp.pages.meta/pages/pages_compref_page.htm</a:t>
            </a:r>
            <a:endParaRPr lang="ja-JP" altLang="en-US" dirty="0"/>
          </a:p>
        </p:txBody>
      </p:sp>
      <p:sp>
        <p:nvSpPr>
          <p:cNvPr id="2" name="テキスト プレースホルダー 1"/>
          <p:cNvSpPr>
            <a:spLocks noGrp="1"/>
          </p:cNvSpPr>
          <p:nvPr>
            <p:ph type="body" sz="quarter" idx="14"/>
          </p:nvPr>
        </p:nvSpPr>
        <p:spPr>
          <a:xfrm>
            <a:off x="331200" y="1567543"/>
            <a:ext cx="8280000" cy="2653545"/>
          </a:xfrm>
        </p:spPr>
        <p:txBody>
          <a:bodyPr/>
          <a:lstStyle/>
          <a:p>
            <a:r>
              <a:rPr lang="en-US" altLang="ja-JP" dirty="0"/>
              <a:t>Visualforce 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開発者ガイド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7648" y="1412776"/>
            <a:ext cx="3886200" cy="3305175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10" name="正方形/長方形 9"/>
          <p:cNvSpPr/>
          <p:nvPr/>
        </p:nvSpPr>
        <p:spPr>
          <a:xfrm>
            <a:off x="331200" y="4717951"/>
            <a:ext cx="46064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b="1" smtClean="0">
                <a:solidFill>
                  <a:srgbClr val="EA650D"/>
                </a:solidFill>
              </a:rPr>
              <a:t>(FYI) Lightning </a:t>
            </a:r>
            <a:r>
              <a:rPr lang="ja-JP" altLang="en-US" b="1" dirty="0">
                <a:solidFill>
                  <a:srgbClr val="EA650D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コンポーネントの使用開始</a:t>
            </a:r>
            <a:r>
              <a:rPr lang="ja-JP" altLang="en-US" b="1" dirty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lang="ja-JP" altLang="en-US" b="1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en-US" altLang="ja-JP" u="sng" dirty="0" smtClean="0">
                <a:hlinkClick r:id="rId4"/>
              </a:rPr>
              <a:t>https</a:t>
            </a:r>
            <a:r>
              <a:rPr lang="en-US" altLang="ja-JP" u="sng" dirty="0">
                <a:hlinkClick r:id="rId4"/>
              </a:rPr>
              <a:t>://trailhead.salesforce.com/ja/content/learn/modules/lex_dev_lc_basics/lex_dev_lc_basics_intro</a:t>
            </a:r>
            <a:r>
              <a:rPr lang="en-US" altLang="ja-JP" dirty="0"/>
              <a:t> 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1616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Reference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411505" y="1484784"/>
            <a:ext cx="8408967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000" dirty="0">
                <a:solidFill>
                  <a:schemeClr val="accent2"/>
                </a:solidFill>
              </a:rPr>
              <a:t>CSS Deck</a:t>
            </a:r>
          </a:p>
          <a:p>
            <a:r>
              <a:rPr lang="en-US" altLang="ja-JP" sz="2000" dirty="0">
                <a:solidFill>
                  <a:schemeClr val="accent2"/>
                </a:solidFill>
                <a:hlinkClick r:id="rId3"/>
              </a:rPr>
              <a:t>http://cssdeck.com</a:t>
            </a:r>
            <a:r>
              <a:rPr lang="en-US" altLang="ja-JP" sz="2000" dirty="0" smtClean="0">
                <a:solidFill>
                  <a:schemeClr val="accent2"/>
                </a:solidFill>
                <a:hlinkClick r:id="rId3"/>
              </a:rPr>
              <a:t>/</a:t>
            </a: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altLang="ja-JP" sz="2000" dirty="0">
                <a:solidFill>
                  <a:schemeClr val="accent2"/>
                </a:solidFill>
              </a:rPr>
              <a:t>W3Schools Online Web Tutorials</a:t>
            </a: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altLang="ja-JP" sz="2000" dirty="0">
                <a:solidFill>
                  <a:schemeClr val="accent2"/>
                </a:solidFill>
                <a:hlinkClick r:id="rId4"/>
              </a:rPr>
              <a:t>https://www.w3schools.com/js</a:t>
            </a:r>
            <a:r>
              <a:rPr lang="en-US" altLang="ja-JP" sz="2000" dirty="0" smtClean="0">
                <a:solidFill>
                  <a:schemeClr val="accent2"/>
                </a:solidFill>
                <a:hlinkClick r:id="rId4"/>
              </a:rPr>
              <a:t>/</a:t>
            </a: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altLang="ja-JP" sz="2000" dirty="0" smtClean="0">
                <a:solidFill>
                  <a:schemeClr val="accent2"/>
                </a:solidFill>
              </a:rPr>
              <a:t>JavaScript</a:t>
            </a:r>
            <a:r>
              <a:rPr lang="ja-JP" altLang="en-US" sz="2000" dirty="0" smtClean="0">
                <a:solidFill>
                  <a:schemeClr val="accent2"/>
                </a:solidFill>
              </a:rPr>
              <a:t>の型定義 </a:t>
            </a:r>
            <a:r>
              <a:rPr lang="en-US" altLang="ja-JP" sz="2000" dirty="0" smtClean="0">
                <a:solidFill>
                  <a:schemeClr val="accent2"/>
                </a:solidFill>
              </a:rPr>
              <a:t>– MS </a:t>
            </a:r>
            <a:r>
              <a:rPr lang="en-US" altLang="ja-JP" sz="2000" dirty="0" err="1" smtClean="0">
                <a:solidFill>
                  <a:schemeClr val="accent2"/>
                </a:solidFill>
              </a:rPr>
              <a:t>TypeScript</a:t>
            </a:r>
            <a:endParaRPr lang="en-US" altLang="ja-JP" sz="2000" dirty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altLang="ja-JP" sz="2000" dirty="0">
                <a:solidFill>
                  <a:schemeClr val="accent2"/>
                </a:solidFill>
                <a:hlinkClick r:id="rId5"/>
              </a:rPr>
              <a:t>https://</a:t>
            </a:r>
            <a:r>
              <a:rPr lang="en-US" altLang="ja-JP" sz="2000" dirty="0" smtClean="0">
                <a:solidFill>
                  <a:schemeClr val="accent2"/>
                </a:solidFill>
                <a:hlinkClick r:id="rId5"/>
              </a:rPr>
              <a:t>github.com/Microsoft/TypeScript-Handbook</a:t>
            </a: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altLang="ja-JP" sz="2000" dirty="0">
                <a:solidFill>
                  <a:schemeClr val="accent2"/>
                </a:solidFill>
              </a:rPr>
              <a:t>Visualforce </a:t>
            </a:r>
            <a:r>
              <a:rPr lang="ja-JP" altLang="en-US" sz="2000" dirty="0">
                <a:solidFill>
                  <a:schemeClr val="accent2"/>
                </a:solidFill>
              </a:rPr>
              <a:t>を使用する必要がある状況は</a:t>
            </a:r>
            <a:r>
              <a:rPr lang="en-US" altLang="ja-JP" sz="2000" dirty="0">
                <a:solidFill>
                  <a:schemeClr val="accent2"/>
                </a:solidFill>
              </a:rPr>
              <a:t>? - Visualforce </a:t>
            </a:r>
            <a:r>
              <a:rPr lang="ja-JP" altLang="en-US" sz="2000" dirty="0">
                <a:solidFill>
                  <a:schemeClr val="accent2"/>
                </a:solidFill>
              </a:rPr>
              <a:t>開発者ガイド</a:t>
            </a:r>
          </a:p>
          <a:p>
            <a:pPr marL="0" indent="0">
              <a:buNone/>
            </a:pPr>
            <a:r>
              <a:rPr lang="en-US" altLang="ja-JP" sz="2000" dirty="0">
                <a:solidFill>
                  <a:schemeClr val="accent2"/>
                </a:solidFill>
                <a:hlinkClick r:id="rId6"/>
              </a:rPr>
              <a:t>https://</a:t>
            </a:r>
            <a:r>
              <a:rPr lang="en-US" altLang="ja-JP" sz="2000" dirty="0" smtClean="0">
                <a:solidFill>
                  <a:schemeClr val="accent2"/>
                </a:solidFill>
                <a:hlinkClick r:id="rId6"/>
              </a:rPr>
              <a:t>developer.salesforce.com/docs/atlas.ja-jp.216.0.pages.meta/pages/pages_intro_when_use_pages.htm</a:t>
            </a:r>
            <a:endParaRPr lang="en-US" altLang="ja-JP" sz="2000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altLang="ja-JP" sz="2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47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561290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Web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サイト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1023972" y="5589240"/>
            <a:ext cx="34445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dirty="0">
                <a:hlinkClick r:id="rId2"/>
              </a:rPr>
              <a:t>https://www.nnlife.co.jp/strengths</a:t>
            </a:r>
            <a:endParaRPr lang="ja-JP" altLang="en-US" dirty="0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200" y="958958"/>
            <a:ext cx="5211489" cy="4630282"/>
          </a:xfrm>
          <a:prstGeom prst="rect">
            <a:avLst/>
          </a:prstGeom>
        </p:spPr>
      </p:pic>
      <p:cxnSp>
        <p:nvCxnSpPr>
          <p:cNvPr id="5" name="直線矢印コネクタ 4"/>
          <p:cNvCxnSpPr/>
          <p:nvPr/>
        </p:nvCxnSpPr>
        <p:spPr>
          <a:xfrm>
            <a:off x="5364088" y="3501008"/>
            <a:ext cx="64807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正方形/長方形 5"/>
          <p:cNvSpPr/>
          <p:nvPr/>
        </p:nvSpPr>
        <p:spPr>
          <a:xfrm>
            <a:off x="6012917" y="3177842"/>
            <a:ext cx="287931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2000" dirty="0" smtClean="0">
                <a:solidFill>
                  <a:srgbClr val="EA650D"/>
                </a:solidFill>
              </a:rPr>
              <a:t>Web</a:t>
            </a:r>
            <a:r>
              <a:rPr lang="ja-JP" altLang="en-US" sz="2000" dirty="0" smtClean="0">
                <a:solidFill>
                  <a:srgbClr val="EA650D"/>
                </a:solidFill>
              </a:rPr>
              <a:t>ブラウザの画面を</a:t>
            </a:r>
            <a:endParaRPr lang="en-US" altLang="ja-JP" sz="2000" dirty="0" smtClean="0">
              <a:solidFill>
                <a:srgbClr val="EA650D"/>
              </a:solidFill>
            </a:endParaRPr>
          </a:p>
          <a:p>
            <a:r>
              <a:rPr lang="ja-JP" altLang="en-US" sz="2000" dirty="0" smtClean="0">
                <a:solidFill>
                  <a:srgbClr val="EA650D"/>
                </a:solidFill>
              </a:rPr>
              <a:t>ドラッグしてサイズを変更</a:t>
            </a:r>
            <a:endParaRPr lang="en-US" altLang="ja-JP" sz="2000" dirty="0" smtClean="0">
              <a:solidFill>
                <a:srgbClr val="EA650D"/>
              </a:solidFill>
            </a:endParaRPr>
          </a:p>
          <a:p>
            <a:r>
              <a:rPr lang="en-US" altLang="ja-JP" sz="2000" dirty="0">
                <a:solidFill>
                  <a:srgbClr val="EA650D"/>
                </a:solidFill>
              </a:rPr>
              <a:t>…</a:t>
            </a:r>
            <a:endParaRPr lang="ja-JP" altLang="en-US" sz="2000" dirty="0">
              <a:solidFill>
                <a:srgbClr val="EA65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18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>
                <a:ea typeface="Meiryo UI" panose="020B0604030504040204" pitchFamily="50" charset="-128"/>
              </a:rPr>
              <a:t>Web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サイトの構成要素（プログラミング観点）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1023972" y="5589240"/>
            <a:ext cx="34445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dirty="0">
                <a:hlinkClick r:id="rId2"/>
              </a:rPr>
              <a:t>https://www.nnlife.co.jp/strengths</a:t>
            </a:r>
            <a:endParaRPr lang="ja-JP" altLang="en-US" dirty="0"/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904" y="958958"/>
            <a:ext cx="3155976" cy="4641517"/>
          </a:xfrm>
          <a:prstGeom prst="rect">
            <a:avLst/>
          </a:prstGeom>
        </p:spPr>
      </p:pic>
      <p:sp>
        <p:nvSpPr>
          <p:cNvPr id="10" name="四角形吹き出し 9"/>
          <p:cNvSpPr/>
          <p:nvPr/>
        </p:nvSpPr>
        <p:spPr>
          <a:xfrm>
            <a:off x="3635896" y="2092719"/>
            <a:ext cx="2160240" cy="1152128"/>
          </a:xfrm>
          <a:prstGeom prst="wedgeRectCallout">
            <a:avLst>
              <a:gd name="adj1" fmla="val -87758"/>
              <a:gd name="adj2" fmla="val 6250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>
                <a:latin typeface="+mj-lt"/>
                <a:ea typeface="Meiryo UI" panose="020B0604030504040204" pitchFamily="50" charset="-128"/>
              </a:rPr>
              <a:t>CSS</a:t>
            </a:r>
            <a:endParaRPr lang="en-US" altLang="ja-JP" dirty="0" smtClean="0"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見た目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を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制御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四角形吹き出し 6"/>
          <p:cNvSpPr/>
          <p:nvPr/>
        </p:nvSpPr>
        <p:spPr>
          <a:xfrm>
            <a:off x="3635896" y="1844823"/>
            <a:ext cx="2160240" cy="1400023"/>
          </a:xfrm>
          <a:prstGeom prst="wedgeRectCallout">
            <a:avLst>
              <a:gd name="adj1" fmla="val -68882"/>
              <a:gd name="adj2" fmla="val -57622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sz="2000" dirty="0" smtClean="0">
                <a:latin typeface="+mj-lt"/>
                <a:ea typeface="Meiryo UI" panose="020B0604030504040204" pitchFamily="50" charset="-128"/>
              </a:rPr>
              <a:t>CSS</a:t>
            </a:r>
          </a:p>
          <a:p>
            <a:pPr algn="ctr"/>
            <a:r>
              <a:rPr lang="en-US" altLang="ja-JP" sz="2000" dirty="0" smtClean="0">
                <a:latin typeface="+mj-lt"/>
                <a:ea typeface="Meiryo UI" panose="020B0604030504040204" pitchFamily="50" charset="-128"/>
              </a:rPr>
              <a:t>&lt;style&gt;</a:t>
            </a:r>
          </a:p>
          <a:p>
            <a:pPr algn="ctr"/>
            <a:r>
              <a:rPr lang="ja-JP" altLang="en-US" sz="20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見た目</a:t>
            </a:r>
            <a:r>
              <a:rPr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</a:rPr>
              <a:t>を</a:t>
            </a:r>
            <a:r>
              <a:rPr lang="ja-JP" altLang="en-US" sz="20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制御</a:t>
            </a:r>
            <a:endParaRPr kumimoji="1" lang="ja-JP" altLang="en-US" sz="20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四角形吹き出し 10"/>
          <p:cNvSpPr/>
          <p:nvPr/>
        </p:nvSpPr>
        <p:spPr>
          <a:xfrm>
            <a:off x="3635896" y="3871059"/>
            <a:ext cx="2160240" cy="1400023"/>
          </a:xfrm>
          <a:prstGeom prst="wedgeRectCallout">
            <a:avLst>
              <a:gd name="adj1" fmla="val -56298"/>
              <a:gd name="adj2" fmla="val -2231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sz="2000" dirty="0" smtClean="0">
                <a:latin typeface="+mj-lt"/>
                <a:ea typeface="Meiryo UI" panose="020B0604030504040204" pitchFamily="50" charset="-128"/>
              </a:rPr>
              <a:t>JavaScript</a:t>
            </a:r>
          </a:p>
          <a:p>
            <a:pPr algn="ctr"/>
            <a:r>
              <a:rPr lang="en-US" altLang="ja-JP" sz="2000" dirty="0" smtClean="0">
                <a:latin typeface="+mj-lt"/>
                <a:ea typeface="Meiryo UI" panose="020B0604030504040204" pitchFamily="50" charset="-128"/>
              </a:rPr>
              <a:t>&lt;script&gt;</a:t>
            </a:r>
            <a:endParaRPr kumimoji="1" lang="en-US" altLang="ja-JP" sz="2000" dirty="0" smtClean="0"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ja-JP" altLang="en-US" sz="2000" dirty="0">
                <a:latin typeface="+mj-lt"/>
                <a:ea typeface="Meiryo UI" panose="020B0604030504040204" pitchFamily="50" charset="-128"/>
              </a:rPr>
              <a:t>動的</a:t>
            </a:r>
            <a:r>
              <a:rPr lang="ja-JP" altLang="en-US" sz="2000" dirty="0" smtClean="0">
                <a:latin typeface="+mj-lt"/>
                <a:ea typeface="Meiryo UI" panose="020B0604030504040204" pitchFamily="50" charset="-128"/>
              </a:rPr>
              <a:t>な変更</a:t>
            </a:r>
            <a:endParaRPr lang="en-US" altLang="ja-JP" sz="2000" dirty="0" smtClean="0"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kumimoji="1" lang="ja-JP" altLang="en-US" sz="2000" dirty="0" smtClean="0">
                <a:latin typeface="+mj-lt"/>
                <a:ea typeface="Meiryo UI" panose="020B0604030504040204" pitchFamily="50" charset="-128"/>
              </a:rPr>
              <a:t>（見た目以外）</a:t>
            </a:r>
            <a:endParaRPr kumimoji="1" lang="ja-JP" altLang="en-US" sz="20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右中かっこ 7"/>
          <p:cNvSpPr/>
          <p:nvPr/>
        </p:nvSpPr>
        <p:spPr>
          <a:xfrm>
            <a:off x="6228184" y="1078988"/>
            <a:ext cx="576064" cy="451025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正方形/長方形 11"/>
          <p:cNvSpPr/>
          <p:nvPr/>
        </p:nvSpPr>
        <p:spPr>
          <a:xfrm>
            <a:off x="6790954" y="2818051"/>
            <a:ext cx="18202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2000" dirty="0" smtClean="0">
                <a:ea typeface="Meiryo UI" panose="020B0604030504040204" pitchFamily="50" charset="-128"/>
              </a:rPr>
              <a:t>HTML</a:t>
            </a:r>
          </a:p>
          <a:p>
            <a:pPr algn="ctr"/>
            <a:r>
              <a:rPr lang="en-US" altLang="ja-JP" sz="2000" dirty="0" smtClean="0">
                <a:ea typeface="Meiryo UI" panose="020B0604030504040204" pitchFamily="50" charset="-128"/>
              </a:rPr>
              <a:t>&lt;html&gt;</a:t>
            </a:r>
          </a:p>
          <a:p>
            <a:pPr algn="ctr"/>
            <a:r>
              <a:rPr lang="en-US" altLang="ja-JP" sz="2000" dirty="0" smtClean="0">
                <a:latin typeface="+mj-lt"/>
                <a:ea typeface="Meiryo UI" panose="020B0604030504040204" pitchFamily="50" charset="-128"/>
              </a:rPr>
              <a:t>Web</a:t>
            </a:r>
            <a:r>
              <a:rPr lang="ja-JP" altLang="en-US" sz="20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ブラウザで表示される</a:t>
            </a:r>
            <a:r>
              <a:rPr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</a:rPr>
              <a:t>結果</a:t>
            </a:r>
            <a:endParaRPr lang="ja-JP" altLang="en-US" sz="20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924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>
                <a:ea typeface="Meiryo UI" panose="020B0604030504040204" pitchFamily="50" charset="-128"/>
              </a:rPr>
              <a:t>Web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サイトの構成要素（アーキテクチャ）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726" y="2662418"/>
            <a:ext cx="835166" cy="83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C:\data\temp\Microsoft_CloudnEnterprise_Symbols_v2.5_PUBLIC\Symbols\CnE_Cloud\PNG\Azure Mobile Engagement_COLOR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298951"/>
            <a:ext cx="78105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正方形/長方形 3"/>
          <p:cNvSpPr/>
          <p:nvPr/>
        </p:nvSpPr>
        <p:spPr>
          <a:xfrm>
            <a:off x="1691680" y="1628800"/>
            <a:ext cx="1656184" cy="18002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HTML</a:t>
            </a:r>
          </a:p>
          <a:p>
            <a:pPr algn="ctr"/>
            <a:r>
              <a:rPr lang="en-US" altLang="ja-JP" dirty="0" smtClean="0"/>
              <a:t>CSS</a:t>
            </a:r>
          </a:p>
          <a:p>
            <a:pPr algn="ctr"/>
            <a:r>
              <a:rPr kumimoji="1" lang="en-US" altLang="ja-JP" dirty="0" smtClean="0"/>
              <a:t>JavaScript</a:t>
            </a:r>
            <a:endParaRPr kumimoji="1" lang="ja-JP" altLang="en-US" dirty="0"/>
          </a:p>
        </p:txBody>
      </p:sp>
      <p:sp>
        <p:nvSpPr>
          <p:cNvPr id="16" name="正方形/長方形 15"/>
          <p:cNvSpPr/>
          <p:nvPr/>
        </p:nvSpPr>
        <p:spPr>
          <a:xfrm>
            <a:off x="5436096" y="1110819"/>
            <a:ext cx="1656184" cy="7920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Apex</a:t>
            </a:r>
          </a:p>
          <a:p>
            <a:pPr algn="ctr"/>
            <a:r>
              <a:rPr lang="en-US" altLang="ja-JP" dirty="0" smtClean="0"/>
              <a:t>Visualforce</a:t>
            </a:r>
            <a:endParaRPr kumimoji="1" lang="ja-JP" altLang="en-US" dirty="0"/>
          </a:p>
        </p:txBody>
      </p:sp>
      <p:sp>
        <p:nvSpPr>
          <p:cNvPr id="17" name="正方形/長方形 16"/>
          <p:cNvSpPr/>
          <p:nvPr/>
        </p:nvSpPr>
        <p:spPr>
          <a:xfrm>
            <a:off x="5431771" y="1976882"/>
            <a:ext cx="1656184" cy="7920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Salesforce</a:t>
            </a:r>
            <a:endParaRPr kumimoji="1" lang="ja-JP" altLang="en-US" dirty="0"/>
          </a:p>
        </p:txBody>
      </p:sp>
      <p:sp>
        <p:nvSpPr>
          <p:cNvPr id="18" name="正方形/長方形 17"/>
          <p:cNvSpPr/>
          <p:nvPr/>
        </p:nvSpPr>
        <p:spPr>
          <a:xfrm>
            <a:off x="5436096" y="3395597"/>
            <a:ext cx="1656184" cy="7920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Java</a:t>
            </a:r>
          </a:p>
          <a:p>
            <a:pPr algn="ctr"/>
            <a:r>
              <a:rPr lang="en-US" altLang="ja-JP" dirty="0" err="1" smtClean="0"/>
              <a:t>.Net</a:t>
            </a:r>
            <a:endParaRPr kumimoji="1" lang="ja-JP" altLang="en-US" dirty="0"/>
          </a:p>
        </p:txBody>
      </p:sp>
      <p:sp>
        <p:nvSpPr>
          <p:cNvPr id="19" name="正方形/長方形 18"/>
          <p:cNvSpPr/>
          <p:nvPr/>
        </p:nvSpPr>
        <p:spPr>
          <a:xfrm>
            <a:off x="5431771" y="4261660"/>
            <a:ext cx="1656184" cy="7920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XAMP, IIS, Tomcat</a:t>
            </a:r>
            <a:endParaRPr kumimoji="1" lang="ja-JP" altLang="en-US" dirty="0"/>
          </a:p>
        </p:txBody>
      </p:sp>
      <p:sp>
        <p:nvSpPr>
          <p:cNvPr id="5" name="正方形/長方形 4"/>
          <p:cNvSpPr/>
          <p:nvPr/>
        </p:nvSpPr>
        <p:spPr>
          <a:xfrm>
            <a:off x="611560" y="5519202"/>
            <a:ext cx="31318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dirty="0" smtClean="0"/>
              <a:t>Client</a:t>
            </a:r>
            <a:endParaRPr lang="ja-JP" altLang="en-US" dirty="0"/>
          </a:p>
        </p:txBody>
      </p:sp>
      <p:sp>
        <p:nvSpPr>
          <p:cNvPr id="20" name="正方形/長方形 19"/>
          <p:cNvSpPr/>
          <p:nvPr/>
        </p:nvSpPr>
        <p:spPr>
          <a:xfrm>
            <a:off x="4932040" y="5519202"/>
            <a:ext cx="31318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dirty="0" smtClean="0"/>
              <a:t>Server</a:t>
            </a:r>
            <a:endParaRPr lang="ja-JP" altLang="en-US" dirty="0"/>
          </a:p>
        </p:txBody>
      </p:sp>
      <p:sp>
        <p:nvSpPr>
          <p:cNvPr id="21" name="正方形/長方形 20"/>
          <p:cNvSpPr/>
          <p:nvPr/>
        </p:nvSpPr>
        <p:spPr>
          <a:xfrm>
            <a:off x="7087955" y="4216839"/>
            <a:ext cx="180452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dirty="0" smtClean="0"/>
              <a:t>Infrastructure</a:t>
            </a:r>
          </a:p>
          <a:p>
            <a:pPr algn="ctr"/>
            <a:r>
              <a:rPr lang="en-US" altLang="ja-JP" dirty="0" smtClean="0"/>
              <a:t>( PaaS / middleware)</a:t>
            </a:r>
            <a:endParaRPr lang="ja-JP" altLang="en-US" dirty="0"/>
          </a:p>
        </p:txBody>
      </p:sp>
      <p:sp>
        <p:nvSpPr>
          <p:cNvPr id="22" name="正方形/長方形 21"/>
          <p:cNvSpPr/>
          <p:nvPr/>
        </p:nvSpPr>
        <p:spPr>
          <a:xfrm>
            <a:off x="7087955" y="2097136"/>
            <a:ext cx="18045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dirty="0" smtClean="0"/>
              <a:t>Infrastructure</a:t>
            </a:r>
          </a:p>
          <a:p>
            <a:pPr algn="ctr"/>
            <a:r>
              <a:rPr lang="en-US" altLang="ja-JP" dirty="0" smtClean="0"/>
              <a:t>( / SaaS)</a:t>
            </a:r>
            <a:endParaRPr lang="ja-JP" altLang="en-US" dirty="0"/>
          </a:p>
        </p:txBody>
      </p:sp>
      <p:sp>
        <p:nvSpPr>
          <p:cNvPr id="24" name="正方形/長方形 23"/>
          <p:cNvSpPr/>
          <p:nvPr/>
        </p:nvSpPr>
        <p:spPr>
          <a:xfrm>
            <a:off x="7087955" y="1233436"/>
            <a:ext cx="18045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dirty="0" smtClean="0"/>
              <a:t>Programing</a:t>
            </a:r>
          </a:p>
          <a:p>
            <a:pPr algn="ctr"/>
            <a:r>
              <a:rPr lang="en-US" altLang="ja-JP" dirty="0" smtClean="0"/>
              <a:t>+ framework</a:t>
            </a:r>
            <a:endParaRPr lang="ja-JP" altLang="en-US" dirty="0"/>
          </a:p>
        </p:txBody>
      </p:sp>
      <p:cxnSp>
        <p:nvCxnSpPr>
          <p:cNvPr id="26" name="直線矢印コネクタ 25"/>
          <p:cNvCxnSpPr/>
          <p:nvPr/>
        </p:nvCxnSpPr>
        <p:spPr>
          <a:xfrm flipH="1">
            <a:off x="3646934" y="2044306"/>
            <a:ext cx="1501130" cy="51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線矢印コネクタ 26"/>
          <p:cNvCxnSpPr/>
          <p:nvPr/>
        </p:nvCxnSpPr>
        <p:spPr>
          <a:xfrm flipH="1" flipV="1">
            <a:off x="3646934" y="3391032"/>
            <a:ext cx="1501130" cy="6532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正方形/長方形 28"/>
          <p:cNvSpPr/>
          <p:nvPr/>
        </p:nvSpPr>
        <p:spPr>
          <a:xfrm>
            <a:off x="1627058" y="3468475"/>
            <a:ext cx="18045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dirty="0" smtClean="0"/>
              <a:t>Chrome, Firefox, Edge</a:t>
            </a:r>
            <a:endParaRPr lang="ja-JP" altLang="en-US" dirty="0"/>
          </a:p>
        </p:txBody>
      </p:sp>
      <p:sp>
        <p:nvSpPr>
          <p:cNvPr id="31" name="正方形/長方形 30"/>
          <p:cNvSpPr/>
          <p:nvPr/>
        </p:nvSpPr>
        <p:spPr>
          <a:xfrm>
            <a:off x="7087955" y="3481253"/>
            <a:ext cx="18045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dirty="0" smtClean="0"/>
              <a:t>Programing</a:t>
            </a:r>
          </a:p>
          <a:p>
            <a:pPr algn="ctr"/>
            <a:r>
              <a:rPr lang="en-US" altLang="ja-JP" dirty="0" smtClean="0"/>
              <a:t>+ framework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71848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ja-JP" sz="4400" dirty="0" smtClean="0"/>
              <a:t>HTML</a:t>
            </a:r>
            <a:endParaRPr kumimoji="1" lang="ja-JP" altLang="en-US" sz="4400" dirty="0"/>
          </a:p>
        </p:txBody>
      </p:sp>
    </p:spTree>
    <p:extLst>
      <p:ext uri="{BB962C8B-B14F-4D97-AF65-F5344CB8AC3E}">
        <p14:creationId xmlns:p14="http://schemas.microsoft.com/office/powerpoint/2010/main" val="955791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HTML</a:t>
            </a:r>
            <a:endParaRPr kumimoji="1" lang="ja-JP" altLang="en-US" dirty="0"/>
          </a:p>
        </p:txBody>
      </p:sp>
      <p:sp>
        <p:nvSpPr>
          <p:cNvPr id="7" name="角丸四角形 6"/>
          <p:cNvSpPr/>
          <p:nvPr/>
        </p:nvSpPr>
        <p:spPr>
          <a:xfrm>
            <a:off x="5868144" y="958958"/>
            <a:ext cx="2743056" cy="463028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en-US" altLang="ja-JP" sz="2400" dirty="0" smtClean="0"/>
              <a:t>&lt;html&gt;</a:t>
            </a:r>
          </a:p>
          <a:p>
            <a:pPr algn="ctr"/>
            <a:endParaRPr lang="en-US" altLang="ja-JP" sz="2400" dirty="0" smtClean="0"/>
          </a:p>
          <a:p>
            <a:pPr algn="ctr"/>
            <a:endParaRPr lang="en-US" altLang="ja-JP" sz="2400" dirty="0"/>
          </a:p>
          <a:p>
            <a:pPr algn="ctr"/>
            <a:endParaRPr lang="en-US" altLang="ja-JP" sz="2400" dirty="0"/>
          </a:p>
          <a:p>
            <a:pPr algn="ctr"/>
            <a:endParaRPr kumimoji="1" lang="en-US" altLang="ja-JP" sz="2400" dirty="0" smtClean="0"/>
          </a:p>
          <a:p>
            <a:pPr algn="ctr"/>
            <a:endParaRPr lang="en-US" altLang="ja-JP" sz="2400" dirty="0"/>
          </a:p>
          <a:p>
            <a:pPr algn="ctr"/>
            <a:endParaRPr kumimoji="1" lang="en-US" altLang="ja-JP" sz="2400" dirty="0" smtClean="0"/>
          </a:p>
          <a:p>
            <a:pPr algn="ctr"/>
            <a:endParaRPr lang="en-US" altLang="ja-JP" sz="2400" dirty="0"/>
          </a:p>
          <a:p>
            <a:pPr algn="ctr"/>
            <a:endParaRPr kumimoji="1" lang="en-US" altLang="ja-JP" sz="2400" dirty="0" smtClean="0"/>
          </a:p>
          <a:p>
            <a:pPr algn="ctr"/>
            <a:endParaRPr lang="en-US" altLang="ja-JP" sz="2400" dirty="0"/>
          </a:p>
          <a:p>
            <a:pPr algn="ctr"/>
            <a:endParaRPr kumimoji="1" lang="en-US" altLang="ja-JP" sz="2400" dirty="0" smtClean="0"/>
          </a:p>
          <a:p>
            <a:pPr algn="ctr"/>
            <a:r>
              <a:rPr lang="en-US" altLang="ja-JP" sz="2400" dirty="0" smtClean="0"/>
              <a:t>&lt;/html&gt;</a:t>
            </a:r>
            <a:endParaRPr lang="ja-JP" altLang="en-US" sz="2400" dirty="0"/>
          </a:p>
        </p:txBody>
      </p:sp>
      <p:sp>
        <p:nvSpPr>
          <p:cNvPr id="11" name="角丸四角形 10"/>
          <p:cNvSpPr/>
          <p:nvPr/>
        </p:nvSpPr>
        <p:spPr>
          <a:xfrm>
            <a:off x="6109977" y="1680200"/>
            <a:ext cx="2259389" cy="144016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en-US" altLang="ja-JP" sz="2400" dirty="0" smtClean="0"/>
              <a:t>&lt;head&gt;</a:t>
            </a:r>
          </a:p>
          <a:p>
            <a:pPr algn="ctr"/>
            <a:endParaRPr lang="en-US" altLang="ja-JP" sz="2400" dirty="0" smtClean="0"/>
          </a:p>
          <a:p>
            <a:pPr algn="ctr"/>
            <a:r>
              <a:rPr lang="en-US" altLang="ja-JP" sz="2400" dirty="0" smtClean="0"/>
              <a:t>&lt;/head&gt;</a:t>
            </a:r>
            <a:endParaRPr lang="ja-JP" altLang="en-US" sz="2400" dirty="0"/>
          </a:p>
        </p:txBody>
      </p:sp>
      <p:sp>
        <p:nvSpPr>
          <p:cNvPr id="12" name="角丸四角形 11"/>
          <p:cNvSpPr/>
          <p:nvPr/>
        </p:nvSpPr>
        <p:spPr>
          <a:xfrm>
            <a:off x="6109977" y="3419983"/>
            <a:ext cx="2259389" cy="145284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kumimoji="1" lang="en-US" altLang="ja-JP" sz="2400" dirty="0" smtClean="0"/>
              <a:t>&lt;body&gt;</a:t>
            </a:r>
          </a:p>
          <a:p>
            <a:pPr algn="ctr"/>
            <a:endParaRPr lang="en-US" altLang="ja-JP" sz="2400" dirty="0"/>
          </a:p>
          <a:p>
            <a:pPr algn="ctr"/>
            <a:r>
              <a:rPr lang="en-US" altLang="ja-JP" sz="2400" dirty="0" smtClean="0"/>
              <a:t>&lt;/body&gt;</a:t>
            </a:r>
            <a:endParaRPr lang="ja-JP" altLang="en-US" sz="2400" dirty="0"/>
          </a:p>
        </p:txBody>
      </p:sp>
      <p:pic>
        <p:nvPicPr>
          <p:cNvPr id="15" name="図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04" y="958958"/>
            <a:ext cx="3155976" cy="4641517"/>
          </a:xfrm>
          <a:prstGeom prst="rect">
            <a:avLst/>
          </a:prstGeom>
        </p:spPr>
      </p:pic>
      <p:sp>
        <p:nvSpPr>
          <p:cNvPr id="8" name="四角形吹き出し 7"/>
          <p:cNvSpPr/>
          <p:nvPr/>
        </p:nvSpPr>
        <p:spPr>
          <a:xfrm>
            <a:off x="3542184" y="4869160"/>
            <a:ext cx="1821904" cy="1111991"/>
          </a:xfrm>
          <a:prstGeom prst="wedgeRectCallout">
            <a:avLst>
              <a:gd name="adj1" fmla="val -58586"/>
              <a:gd name="adj2" fmla="val -3820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2000" dirty="0" smtClean="0">
                <a:latin typeface="+mj-lt"/>
                <a:ea typeface="Meiryo UI" panose="020B0604030504040204" pitchFamily="50" charset="-128"/>
              </a:rPr>
              <a:t>右クリックして「</a:t>
            </a:r>
            <a:endParaRPr lang="en-US" altLang="ja-JP" sz="2000" dirty="0" smtClean="0">
              <a:latin typeface="+mj-lt"/>
              <a:ea typeface="Meiryo UI" panose="020B0604030504040204" pitchFamily="50" charset="-128"/>
            </a:endParaRPr>
          </a:p>
          <a:p>
            <a:pPr algn="ctr"/>
            <a:r>
              <a:rPr lang="ja-JP" altLang="en-US" sz="2000" dirty="0" smtClean="0">
                <a:latin typeface="+mj-lt"/>
                <a:ea typeface="Meiryo UI" panose="020B0604030504040204" pitchFamily="50" charset="-128"/>
              </a:rPr>
              <a:t>ソースを表示」など</a:t>
            </a:r>
            <a:endParaRPr kumimoji="1" lang="ja-JP" altLang="en-US" sz="20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8235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HTML</a:t>
            </a:r>
            <a:endParaRPr kumimoji="1" lang="ja-JP" altLang="en-US" dirty="0"/>
          </a:p>
        </p:txBody>
      </p:sp>
      <p:sp>
        <p:nvSpPr>
          <p:cNvPr id="16" name="サブタイトル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ja-JP" dirty="0" smtClean="0"/>
              <a:t>Hands-on</a:t>
            </a:r>
            <a:endParaRPr kumimoji="1" lang="ja-JP" altLang="en-US" dirty="0"/>
          </a:p>
        </p:txBody>
      </p:sp>
      <p:sp>
        <p:nvSpPr>
          <p:cNvPr id="17" name="テキスト プレースホルダー 16"/>
          <p:cNvSpPr>
            <a:spLocks noGrp="1"/>
          </p:cNvSpPr>
          <p:nvPr>
            <p:ph type="body" sz="quarter" idx="14"/>
          </p:nvPr>
        </p:nvSpPr>
        <p:spPr>
          <a:xfrm>
            <a:off x="331200" y="1340768"/>
            <a:ext cx="4888872" cy="4464496"/>
          </a:xfr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r>
              <a:rPr lang="en-US" altLang="ja-JP" sz="1600" b="0" dirty="0"/>
              <a:t>&lt;!DOCTYPE html&gt;</a:t>
            </a:r>
          </a:p>
          <a:p>
            <a:r>
              <a:rPr lang="en-US" altLang="ja-JP" sz="1600" b="0" dirty="0"/>
              <a:t>&lt;html&gt;</a:t>
            </a:r>
          </a:p>
          <a:p>
            <a:r>
              <a:rPr lang="en-US" altLang="ja-JP" sz="1600" b="0" dirty="0" smtClean="0"/>
              <a:t>  &lt;</a:t>
            </a:r>
            <a:r>
              <a:rPr lang="en-US" altLang="ja-JP" sz="1600" b="0" dirty="0"/>
              <a:t>head&gt;</a:t>
            </a:r>
          </a:p>
          <a:p>
            <a:r>
              <a:rPr lang="en-US" altLang="ja-JP" sz="1600" b="0" dirty="0"/>
              <a:t>  </a:t>
            </a:r>
            <a:r>
              <a:rPr lang="en-US" altLang="ja-JP" sz="1600" b="0" dirty="0" smtClean="0"/>
              <a:t>  &lt;</a:t>
            </a:r>
            <a:r>
              <a:rPr lang="en-US" altLang="ja-JP" sz="1600" b="0" dirty="0"/>
              <a:t>meta charset="utf-8"&gt;</a:t>
            </a:r>
          </a:p>
          <a:p>
            <a:r>
              <a:rPr lang="en-US" altLang="ja-JP" sz="1600" b="0" dirty="0"/>
              <a:t>  </a:t>
            </a:r>
            <a:r>
              <a:rPr lang="en-US" altLang="ja-JP" sz="1600" b="0" dirty="0" smtClean="0"/>
              <a:t>  &lt;</a:t>
            </a:r>
            <a:r>
              <a:rPr lang="en-US" altLang="ja-JP" sz="1600" b="0" dirty="0"/>
              <a:t>title&gt;sample Web site&lt;/title&gt;</a:t>
            </a:r>
          </a:p>
          <a:p>
            <a:r>
              <a:rPr lang="en-US" altLang="ja-JP" sz="1600" b="0" dirty="0" smtClean="0"/>
              <a:t>  &lt;/</a:t>
            </a:r>
            <a:r>
              <a:rPr lang="en-US" altLang="ja-JP" sz="1600" b="0" dirty="0"/>
              <a:t>head&gt;</a:t>
            </a:r>
          </a:p>
          <a:p>
            <a:r>
              <a:rPr lang="en-US" altLang="ja-JP" sz="1600" b="0" dirty="0" smtClean="0"/>
              <a:t>  &lt;</a:t>
            </a:r>
            <a:r>
              <a:rPr lang="en-US" altLang="ja-JP" sz="1600" b="0" dirty="0"/>
              <a:t>body&gt;</a:t>
            </a:r>
          </a:p>
          <a:p>
            <a:r>
              <a:rPr lang="en-US" altLang="ja-JP" sz="1600" b="0" dirty="0"/>
              <a:t>  </a:t>
            </a:r>
            <a:r>
              <a:rPr lang="en-US" altLang="ja-JP" sz="1600" b="0" dirty="0" smtClean="0"/>
              <a:t>  &lt;</a:t>
            </a:r>
            <a:r>
              <a:rPr lang="en-US" altLang="ja-JP" sz="1600" b="0" dirty="0"/>
              <a:t>h1&gt;Static Web site&lt;/h1&gt;</a:t>
            </a:r>
          </a:p>
          <a:p>
            <a:r>
              <a:rPr lang="en-US" altLang="ja-JP" sz="1600" b="0" dirty="0"/>
              <a:t>  </a:t>
            </a:r>
            <a:r>
              <a:rPr lang="en-US" altLang="ja-JP" sz="1600" b="0" dirty="0" smtClean="0"/>
              <a:t>  &lt;</a:t>
            </a:r>
            <a:r>
              <a:rPr lang="en-US" altLang="ja-JP" sz="1600" b="0" dirty="0"/>
              <a:t>p&gt;</a:t>
            </a:r>
            <a:r>
              <a:rPr lang="ja-JP" altLang="en-US" sz="1600" b="0" dirty="0">
                <a:latin typeface="Meiryo UI" panose="020B0604030504040204" pitchFamily="50" charset="-128"/>
                <a:ea typeface="Meiryo UI" panose="020B0604030504040204" pitchFamily="50" charset="-128"/>
              </a:rPr>
              <a:t>あくまで基礎となる</a:t>
            </a:r>
            <a:r>
              <a:rPr lang="ja-JP" altLang="en-US" sz="1600" b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要素</a:t>
            </a:r>
            <a:r>
              <a:rPr lang="en-US" altLang="ja-JP" sz="1600" b="0" dirty="0" smtClean="0"/>
              <a:t>&lt;/</a:t>
            </a:r>
            <a:r>
              <a:rPr lang="en-US" altLang="ja-JP" sz="1600" b="0" dirty="0"/>
              <a:t>p&gt;</a:t>
            </a:r>
          </a:p>
          <a:p>
            <a:r>
              <a:rPr lang="en-US" altLang="ja-JP" sz="1600" b="0" dirty="0"/>
              <a:t>  </a:t>
            </a:r>
            <a:r>
              <a:rPr lang="en-US" altLang="ja-JP" sz="1600" b="0" dirty="0" smtClean="0"/>
              <a:t>  &lt;</a:t>
            </a:r>
            <a:r>
              <a:rPr lang="en-US" altLang="ja-JP" sz="1600" b="0" dirty="0" err="1"/>
              <a:t>ul</a:t>
            </a:r>
            <a:r>
              <a:rPr lang="en-US" altLang="ja-JP" sz="1600" b="0" dirty="0"/>
              <a:t>&gt;</a:t>
            </a:r>
          </a:p>
          <a:p>
            <a:r>
              <a:rPr lang="en-US" altLang="ja-JP" sz="1600" b="0" dirty="0"/>
              <a:t>    </a:t>
            </a:r>
            <a:r>
              <a:rPr lang="en-US" altLang="ja-JP" sz="1600" b="0" dirty="0" smtClean="0"/>
              <a:t>  &lt;</a:t>
            </a:r>
            <a:r>
              <a:rPr lang="en-US" altLang="ja-JP" sz="1600" b="0" dirty="0"/>
              <a:t>li&gt;</a:t>
            </a:r>
            <a:r>
              <a:rPr lang="ja-JP" altLang="en-US" sz="1600" b="0" dirty="0">
                <a:latin typeface="Meiryo UI" panose="020B0604030504040204" pitchFamily="50" charset="-128"/>
                <a:ea typeface="Meiryo UI" panose="020B0604030504040204" pitchFamily="50" charset="-128"/>
              </a:rPr>
              <a:t>基本的なタグだけ</a:t>
            </a:r>
            <a:r>
              <a:rPr lang="en-US" altLang="ja-JP" sz="1600" b="0" dirty="0"/>
              <a:t>&lt;/li&gt;</a:t>
            </a:r>
          </a:p>
          <a:p>
            <a:r>
              <a:rPr lang="en-US" altLang="ja-JP" sz="1600" b="0" dirty="0"/>
              <a:t>    </a:t>
            </a:r>
            <a:r>
              <a:rPr lang="en-US" altLang="ja-JP" sz="1600" b="0" dirty="0" smtClean="0"/>
              <a:t>  &lt;</a:t>
            </a:r>
            <a:r>
              <a:rPr lang="en-US" altLang="ja-JP" sz="1600" b="0" dirty="0"/>
              <a:t>li&gt;</a:t>
            </a:r>
            <a:r>
              <a:rPr lang="ja-JP" altLang="en-US" sz="1600" b="0" dirty="0">
                <a:latin typeface="Meiryo UI" panose="020B0604030504040204" pitchFamily="50" charset="-128"/>
                <a:ea typeface="Meiryo UI" panose="020B0604030504040204" pitchFamily="50" charset="-128"/>
              </a:rPr>
              <a:t>あとは</a:t>
            </a:r>
            <a:r>
              <a:rPr lang="en-US" altLang="ja-JP" sz="1600" b="0" dirty="0"/>
              <a:t>HTML/CSS</a:t>
            </a:r>
            <a:r>
              <a:rPr lang="ja-JP" altLang="en-US" sz="1600" b="0" dirty="0">
                <a:latin typeface="Meiryo UI" panose="020B0604030504040204" pitchFamily="50" charset="-128"/>
                <a:ea typeface="Meiryo UI" panose="020B0604030504040204" pitchFamily="50" charset="-128"/>
              </a:rPr>
              <a:t>リファレンスのサイト等を参考に</a:t>
            </a:r>
            <a:r>
              <a:rPr lang="en-US" altLang="ja-JP" sz="1600" b="0" dirty="0"/>
              <a:t>&lt;/li&gt;</a:t>
            </a:r>
          </a:p>
          <a:p>
            <a:r>
              <a:rPr lang="en-US" altLang="ja-JP" sz="1600" b="0" dirty="0"/>
              <a:t>  </a:t>
            </a:r>
            <a:r>
              <a:rPr lang="en-US" altLang="ja-JP" sz="1600" b="0" dirty="0" smtClean="0"/>
              <a:t>  &lt;/</a:t>
            </a:r>
            <a:r>
              <a:rPr lang="en-US" altLang="ja-JP" sz="1600" b="0" dirty="0" err="1"/>
              <a:t>ul</a:t>
            </a:r>
            <a:r>
              <a:rPr lang="en-US" altLang="ja-JP" sz="1600" b="0" dirty="0"/>
              <a:t>&gt;</a:t>
            </a:r>
          </a:p>
          <a:p>
            <a:r>
              <a:rPr lang="en-US" altLang="ja-JP" sz="1600" b="0" dirty="0" smtClean="0"/>
              <a:t>  &lt;/</a:t>
            </a:r>
            <a:r>
              <a:rPr lang="en-US" altLang="ja-JP" sz="1600" b="0" dirty="0"/>
              <a:t>body&gt;</a:t>
            </a:r>
          </a:p>
          <a:p>
            <a:r>
              <a:rPr lang="en-US" altLang="ja-JP" sz="1600" b="0" dirty="0"/>
              <a:t>&lt;/html&gt;</a:t>
            </a:r>
            <a:endParaRPr kumimoji="1" lang="ja-JP" altLang="en-US" sz="1600" b="0" dirty="0"/>
          </a:p>
        </p:txBody>
      </p:sp>
      <p:pic>
        <p:nvPicPr>
          <p:cNvPr id="18" name="図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8104" y="1340768"/>
            <a:ext cx="3389138" cy="3756115"/>
          </a:xfrm>
          <a:prstGeom prst="rect">
            <a:avLst/>
          </a:prstGeom>
          <a:ln>
            <a:solidFill>
              <a:srgbClr val="002060"/>
            </a:solidFill>
          </a:ln>
        </p:spPr>
      </p:pic>
      <p:graphicFrame>
        <p:nvGraphicFramePr>
          <p:cNvPr id="19" name="オブジェクト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8311980"/>
              </p:ext>
            </p:extLst>
          </p:nvPr>
        </p:nvGraphicFramePr>
        <p:xfrm>
          <a:off x="4150515" y="5140620"/>
          <a:ext cx="1080160" cy="7246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1" name="パッケージャー シェル オブジェクト" showAsIcon="1" r:id="rId4" imgW="747360" imgH="502200" progId="Package">
                  <p:embed/>
                </p:oleObj>
              </mc:Choice>
              <mc:Fallback>
                <p:oleObj name="パッケージャー シェル オブジェクト" showAsIcon="1" r:id="rId4" imgW="747360" imgH="5022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50515" y="5140620"/>
                        <a:ext cx="1080160" cy="7246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正方形/長方形 19"/>
          <p:cNvSpPr/>
          <p:nvPr/>
        </p:nvSpPr>
        <p:spPr>
          <a:xfrm>
            <a:off x="5436096" y="5085184"/>
            <a:ext cx="36032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dirty="0"/>
              <a:t>Simple </a:t>
            </a:r>
            <a:r>
              <a:rPr lang="en-US" altLang="ja-JP" dirty="0" smtClean="0"/>
              <a:t>Tutorial</a:t>
            </a:r>
            <a:endParaRPr lang="en-US" altLang="ja-JP" dirty="0"/>
          </a:p>
          <a:p>
            <a:r>
              <a:rPr lang="en-US" altLang="ja-JP" dirty="0">
                <a:hlinkClick r:id="rId6"/>
              </a:rPr>
              <a:t>https://www.w3schools.com/html/html_editors.asp</a:t>
            </a: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2149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タイトル 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/>
              <a:t>HTML</a:t>
            </a:r>
            <a:endParaRPr kumimoji="1" lang="ja-JP" altLang="en-US" dirty="0"/>
          </a:p>
        </p:txBody>
      </p:sp>
      <p:sp>
        <p:nvSpPr>
          <p:cNvPr id="16" name="サブタイトル 1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ja-JP" dirty="0" smtClean="0"/>
              <a:t>Note</a:t>
            </a:r>
            <a:endParaRPr kumimoji="1" lang="ja-JP" altLang="en-US" dirty="0"/>
          </a:p>
        </p:txBody>
      </p:sp>
      <p:sp>
        <p:nvSpPr>
          <p:cNvPr id="2" name="テキスト プレースホルダー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ja-JP" altLang="en-US" sz="2000" b="0" dirty="0" smtClean="0"/>
              <a:t>文字コード</a:t>
            </a:r>
            <a:r>
              <a:rPr kumimoji="1" lang="en-US" altLang="ja-JP" sz="2000" b="0" dirty="0" smtClean="0"/>
              <a:t>UTF-8</a:t>
            </a:r>
            <a:r>
              <a:rPr kumimoji="1" lang="en-US" altLang="ja-JP" sz="2000" b="0" baseline="30000" dirty="0" smtClean="0"/>
              <a:t>*</a:t>
            </a:r>
            <a:r>
              <a:rPr kumimoji="1" lang="ja-JP" altLang="en-US" sz="2000" b="0" dirty="0" smtClean="0"/>
              <a:t>で保存　（あえて日本語）</a:t>
            </a:r>
            <a:endParaRPr kumimoji="1" lang="en-US" altLang="ja-JP" sz="20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ja-JP" sz="2000" b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ja-JP" sz="2000" b="0" dirty="0" smtClean="0"/>
              <a:t>HTML</a:t>
            </a:r>
            <a:r>
              <a:rPr lang="en-US" altLang="ja-JP" sz="2000" b="0" dirty="0"/>
              <a:t> </a:t>
            </a:r>
            <a:r>
              <a:rPr lang="en-US" altLang="ja-JP" sz="2000" b="0" dirty="0" smtClean="0"/>
              <a:t>References, …</a:t>
            </a:r>
            <a:endParaRPr lang="en-US" altLang="ja-JP" sz="2000" b="0" dirty="0"/>
          </a:p>
          <a:p>
            <a:r>
              <a:rPr lang="en-US" altLang="ja-JP" sz="2000" b="0" dirty="0" smtClean="0">
                <a:hlinkClick r:id="rId2"/>
              </a:rPr>
              <a:t>https</a:t>
            </a:r>
            <a:r>
              <a:rPr lang="en-US" altLang="ja-JP" sz="2000" b="0" dirty="0">
                <a:hlinkClick r:id="rId2"/>
              </a:rPr>
              <a:t>://</a:t>
            </a:r>
            <a:r>
              <a:rPr lang="en-US" altLang="ja-JP" sz="2000" b="0" dirty="0" smtClean="0">
                <a:hlinkClick r:id="rId2"/>
              </a:rPr>
              <a:t>www.codecademy.com/learn/web</a:t>
            </a:r>
            <a:endParaRPr lang="en-US" altLang="ja-JP" sz="20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1" lang="en-US" altLang="ja-JP" sz="2000" b="0" dirty="0" smtClean="0"/>
          </a:p>
          <a:p>
            <a:r>
              <a:rPr lang="en-US" altLang="ja-JP" sz="2000" b="0" dirty="0" smtClean="0"/>
              <a:t>* UTF-8 </a:t>
            </a:r>
            <a:r>
              <a:rPr lang="ja-JP" altLang="en-US" sz="2000" b="0" dirty="0" smtClean="0"/>
              <a:t>で</a:t>
            </a:r>
            <a:r>
              <a:rPr lang="en-US" altLang="ja-JP" sz="2000" b="0" dirty="0" smtClean="0"/>
              <a:t>BOM</a:t>
            </a:r>
            <a:r>
              <a:rPr lang="ja-JP" altLang="en-US" sz="2000" b="0" dirty="0" smtClean="0"/>
              <a:t>有無を問われる場合には</a:t>
            </a:r>
            <a:r>
              <a:rPr lang="en-US" altLang="ja-JP" sz="2000" b="0" dirty="0"/>
              <a:t>BOM</a:t>
            </a:r>
            <a:r>
              <a:rPr lang="ja-JP" altLang="en-US" sz="2000" b="0" dirty="0" smtClean="0"/>
              <a:t>無</a:t>
            </a:r>
            <a:endParaRPr lang="en-US" altLang="ja-JP" sz="2000" b="0" dirty="0" smtClean="0"/>
          </a:p>
          <a:p>
            <a:r>
              <a:rPr lang="ja-JP" altLang="en-US" sz="2000" b="0" dirty="0" smtClean="0"/>
              <a:t>（</a:t>
            </a:r>
            <a:r>
              <a:rPr lang="en-US" altLang="ja-JP" sz="2000" b="0" dirty="0" smtClean="0"/>
              <a:t>BOM</a:t>
            </a:r>
            <a:r>
              <a:rPr lang="ja-JP" altLang="en-US" sz="2000" b="0" dirty="0" smtClean="0"/>
              <a:t>は昔必要だった制御コード、文字化けの原因）</a:t>
            </a:r>
            <a:endParaRPr kumimoji="1" lang="ja-JP" altLang="en-US" sz="2000" b="0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525" y="4437112"/>
            <a:ext cx="3876675" cy="1381125"/>
          </a:xfrm>
          <a:prstGeom prst="rect">
            <a:avLst/>
          </a:prstGeom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3294687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テキスト プレースホルダー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ja-JP" sz="4400" dirty="0" smtClean="0"/>
              <a:t>CSS</a:t>
            </a:r>
          </a:p>
        </p:txBody>
      </p:sp>
    </p:spTree>
    <p:extLst>
      <p:ext uri="{BB962C8B-B14F-4D97-AF65-F5344CB8AC3E}">
        <p14:creationId xmlns:p14="http://schemas.microsoft.com/office/powerpoint/2010/main" val="3172712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NN_4_3_INTERNAL_USE_ONLY_2003_20131130">
  <a:themeElements>
    <a:clrScheme name="ING NN">
      <a:dk1>
        <a:srgbClr val="000000"/>
      </a:dk1>
      <a:lt1>
        <a:srgbClr val="FFFFFF"/>
      </a:lt1>
      <a:dk2>
        <a:srgbClr val="EA650D"/>
      </a:dk2>
      <a:lt2>
        <a:srgbClr val="929395"/>
      </a:lt2>
      <a:accent1>
        <a:srgbClr val="EA650D"/>
      </a:accent1>
      <a:accent2>
        <a:srgbClr val="EE7F00"/>
      </a:accent2>
      <a:accent3>
        <a:srgbClr val="E64415"/>
      </a:accent3>
      <a:accent4>
        <a:srgbClr val="96B439"/>
      </a:accent4>
      <a:accent5>
        <a:srgbClr val="C8CD2E"/>
      </a:accent5>
      <a:accent6>
        <a:srgbClr val="5B9853"/>
      </a:accent6>
      <a:hlink>
        <a:srgbClr val="A4CCEA"/>
      </a:hlink>
      <a:folHlink>
        <a:srgbClr val="5389C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spcBef>
            <a:spcPts val="2400"/>
          </a:spcBef>
          <a:defRPr dirty="0" err="1" smtClean="0"/>
        </a:defPPr>
      </a:lstStyle>
    </a:txDef>
  </a:objectDefaults>
  <a:extraClrSchemeLst/>
  <a:custClrLst>
    <a:custClr name="Medium orange">
      <a:srgbClr val="EA650D"/>
    </a:custClr>
    <a:custClr name="Light orange">
      <a:srgbClr val="EE7F00"/>
    </a:custClr>
    <a:custClr name="Dark orange">
      <a:srgbClr val="E64415"/>
    </a:custClr>
    <a:custClr name="Medium green">
      <a:srgbClr val="96B439"/>
    </a:custClr>
    <a:custClr name="Light green">
      <a:srgbClr val="C8CD2E"/>
    </a:custClr>
    <a:custClr name="Dark green">
      <a:srgbClr val="5B9853"/>
    </a:custClr>
    <a:custClr name="Medium blue">
      <a:srgbClr val="7CAAD6"/>
    </a:custClr>
    <a:custClr name="Light Blue">
      <a:srgbClr val="A4CCEA"/>
    </a:custClr>
    <a:custClr name="Dark Blue">
      <a:srgbClr val="5389C2"/>
    </a:custClr>
    <a:custClr name="Medium purple">
      <a:srgbClr val="977BD6"/>
    </a:custClr>
    <a:custClr name="Light purple">
      <a:srgbClr val="BEA5F7"/>
    </a:custClr>
    <a:custClr name="Dark Purple">
      <a:srgbClr val="745AAE"/>
    </a:custClr>
    <a:custClr name="Medium warm grey">
      <a:srgbClr val="ABA5A2"/>
    </a:custClr>
    <a:custClr name="Light warm grey">
      <a:srgbClr val="D2CDCA"/>
    </a:custClr>
    <a:custClr name="Dark warm grey">
      <a:srgbClr val="86807E"/>
    </a:custClr>
  </a:custClrLst>
  <a:extLst>
    <a:ext uri="{05A4C25C-085E-4340-85A3-A5531E510DB2}">
      <thm15:themeFamily xmlns:thm15="http://schemas.microsoft.com/office/thememl/2012/main" name="NN_template_4_3_INTERNAL_USE_ONLY.potx" id="{8669317A-B0A3-47A1-81A0-D6757ED5DDD6}" vid="{920007A8-CF30-40B9-A785-525C5A8ED211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FD784A61E08742AD02C7D67A1EB5C8" ma:contentTypeVersion="1" ma:contentTypeDescription="Create a new document." ma:contentTypeScope="" ma:versionID="893ebd908cb4fc11179dfbc8ac03aa58">
  <xsd:schema xmlns:xsd="http://www.w3.org/2001/XMLSchema" xmlns:p="http://schemas.microsoft.com/office/2006/metadata/properties" targetNamespace="http://schemas.microsoft.com/office/2006/metadata/properties" ma:root="true" ma:fieldsID="510bfce7707e076352ebb58bb33b2d8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31E4E4E5-77AC-4DBA-8D96-0075EA8F6FF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C4DE4D-3C54-4D30-9704-B14AFB6A84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7BDCD0AF-4C42-4E01-A0F6-142E7AD7E742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1ADAC8F8-CFBC-4E10-AC2B-C36C7133F923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N_4_3_INTERNAL_USE_ONLY_2003_20131130</Template>
  <TotalTime>116327</TotalTime>
  <Words>559</Words>
  <Application>Microsoft Office PowerPoint</Application>
  <PresentationFormat>画面に合わせる (4:3)</PresentationFormat>
  <Paragraphs>176</Paragraphs>
  <Slides>17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17</vt:i4>
      </vt:variant>
    </vt:vector>
  </HeadingPairs>
  <TitlesOfParts>
    <vt:vector size="27" baseType="lpstr">
      <vt:lpstr>Meiryo UI</vt:lpstr>
      <vt:lpstr>ＭＳ Ｐゴシック</vt:lpstr>
      <vt:lpstr>Arial</vt:lpstr>
      <vt:lpstr>Calibri</vt:lpstr>
      <vt:lpstr>Courier New</vt:lpstr>
      <vt:lpstr>Symbol</vt:lpstr>
      <vt:lpstr>Custom Design</vt:lpstr>
      <vt:lpstr>1_NN_4_3_INTERNAL_USE_ONLY_2003_20131130</vt:lpstr>
      <vt:lpstr>think-cell Slide</vt:lpstr>
      <vt:lpstr>パッケージ</vt:lpstr>
      <vt:lpstr>HTML/CSS/JavaScript</vt:lpstr>
      <vt:lpstr>Webサイト</vt:lpstr>
      <vt:lpstr>Webサイトの構成要素（プログラミング観点）</vt:lpstr>
      <vt:lpstr>Webサイトの構成要素（アーキテクチャ）</vt:lpstr>
      <vt:lpstr>PowerPoint プレゼンテーション</vt:lpstr>
      <vt:lpstr>HTML</vt:lpstr>
      <vt:lpstr>HTML</vt:lpstr>
      <vt:lpstr>HTML</vt:lpstr>
      <vt:lpstr>PowerPoint プレゼンテーション</vt:lpstr>
      <vt:lpstr>CSS</vt:lpstr>
      <vt:lpstr>CSS</vt:lpstr>
      <vt:lpstr>PowerPoint プレゼンテーション</vt:lpstr>
      <vt:lpstr>JavaScript</vt:lpstr>
      <vt:lpstr>PowerPoint プレゼンテーション</vt:lpstr>
      <vt:lpstr>Apex, Visualforce </vt:lpstr>
      <vt:lpstr>Reference</vt:lpstr>
      <vt:lpstr>PowerPoint プレゼンテーション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Olivier Pons</dc:creator>
  <cp:lastModifiedBy>Tanaka Nobukazu</cp:lastModifiedBy>
  <cp:revision>1601</cp:revision>
  <cp:lastPrinted>2014-11-13T12:38:46Z</cp:lastPrinted>
  <dcterms:created xsi:type="dcterms:W3CDTF">2014-07-22T06:34:23Z</dcterms:created>
  <dcterms:modified xsi:type="dcterms:W3CDTF">2018-11-11T20:4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ContentTypeId">
    <vt:lpwstr>0x01010034FD784A61E08742AD02C7D67A1EB5C8</vt:lpwstr>
  </property>
</Properties>
</file>